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4" r:id="rId5"/>
    <p:sldMasterId id="2147483680" r:id="rId6"/>
  </p:sldMasterIdLst>
  <p:notesMasterIdLst>
    <p:notesMasterId r:id="rId12"/>
  </p:notesMasterIdLst>
  <p:sldIdLst>
    <p:sldId id="2147377425" r:id="rId7"/>
    <p:sldId id="2147377411" r:id="rId8"/>
    <p:sldId id="2147377413" r:id="rId9"/>
    <p:sldId id="2147377414" r:id="rId10"/>
    <p:sldId id="2147377415" r:id="rId1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9963AFA1-BE99-420D-8829-1AED46DB4EB4}">
          <p14:sldIdLst>
            <p14:sldId id="2147377425"/>
            <p14:sldId id="2147377411"/>
            <p14:sldId id="2147377413"/>
            <p14:sldId id="2147377414"/>
            <p14:sldId id="214737741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F3E6B07-B894-5B1D-7DEA-6636DCCC3F68}" name="Ewoud Helder" initials="EH" userId="S::ewoud.helder@robidus.nl::fe41fbc6-6938-490f-a354-f277ea038ffb" providerId="AD"/>
  <p188:author id="{A48F70C6-9373-B4C5-7B09-44DB7CD6FB92}" name="Laura Breebaart" initials="LB" userId="S::laura.breebaart@robidus.nl::fe2b06ab-92c4-4ff5-ad4a-261d37b38c09" providerId="AD"/>
  <p188:author id="{D218C4CD-0113-643B-907F-0A4120BDD472}" name="Charline van Deth" initials="CD" userId="S::charline.deth@robidus.nl::06d388d7-eb5d-44ba-96e0-8a4cc5dcd0c0" providerId="AD"/>
  <p188:author id="{22B56AFF-B746-7B34-DDBA-BA1222254635}" name="Solange Former" initials="SF" userId="S::solange.former@robidus.nl::e59c8340-2290-4f0c-8a10-8ffdcc509126"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8485F8-D7AC-415E-8BCF-02F246A63C3A}" v="2" dt="2026-02-13T10:10:48.6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120" d="100"/>
          <a:sy n="120" d="100"/>
        </p:scale>
        <p:origin x="2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4.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a Breebaart" userId="fe2b06ab-92c4-4ff5-ad4a-261d37b38c09" providerId="ADAL" clId="{AA0F7360-E3CB-4846-888E-16636A8FD57B}"/>
    <pc:docChg chg="custSel modSld delSection">
      <pc:chgData name="Laura Breebaart" userId="fe2b06ab-92c4-4ff5-ad4a-261d37b38c09" providerId="ADAL" clId="{AA0F7360-E3CB-4846-888E-16636A8FD57B}" dt="2026-02-13T10:11:14.409" v="115" actId="115"/>
      <pc:docMkLst>
        <pc:docMk/>
      </pc:docMkLst>
      <pc:sldChg chg="addSp delSp modSp mod delAnim modAnim">
        <pc:chgData name="Laura Breebaart" userId="fe2b06ab-92c4-4ff5-ad4a-261d37b38c09" providerId="ADAL" clId="{AA0F7360-E3CB-4846-888E-16636A8FD57B}" dt="2026-02-13T10:10:52.338" v="110" actId="404"/>
        <pc:sldMkLst>
          <pc:docMk/>
          <pc:sldMk cId="2867659844" sldId="2147377411"/>
        </pc:sldMkLst>
        <pc:spChg chg="mod">
          <ac:chgData name="Laura Breebaart" userId="fe2b06ab-92c4-4ff5-ad4a-261d37b38c09" providerId="ADAL" clId="{AA0F7360-E3CB-4846-888E-16636A8FD57B}" dt="2026-02-13T10:10:39.165" v="108" actId="20577"/>
          <ac:spMkLst>
            <pc:docMk/>
            <pc:sldMk cId="2867659844" sldId="2147377411"/>
            <ac:spMk id="69" creationId="{8CFDE045-241E-274C-D40F-9CCC5CAC1E7D}"/>
          </ac:spMkLst>
        </pc:spChg>
        <pc:spChg chg="mod">
          <ac:chgData name="Laura Breebaart" userId="fe2b06ab-92c4-4ff5-ad4a-261d37b38c09" providerId="ADAL" clId="{AA0F7360-E3CB-4846-888E-16636A8FD57B}" dt="2026-02-13T10:10:52.338" v="110" actId="404"/>
          <ac:spMkLst>
            <pc:docMk/>
            <pc:sldMk cId="2867659844" sldId="2147377411"/>
            <ac:spMk id="74" creationId="{2784E876-F4A0-8AF2-B5A3-BB76876EB73D}"/>
          </ac:spMkLst>
        </pc:spChg>
        <pc:spChg chg="mod">
          <ac:chgData name="Laura Breebaart" userId="fe2b06ab-92c4-4ff5-ad4a-261d37b38c09" providerId="ADAL" clId="{AA0F7360-E3CB-4846-888E-16636A8FD57B}" dt="2026-02-13T10:10:28.994" v="79" actId="20577"/>
          <ac:spMkLst>
            <pc:docMk/>
            <pc:sldMk cId="2867659844" sldId="2147377411"/>
            <ac:spMk id="76" creationId="{93675EF7-F11E-F8D0-D9DE-CC5015B57C93}"/>
          </ac:spMkLst>
        </pc:spChg>
        <pc:spChg chg="mod">
          <ac:chgData name="Laura Breebaart" userId="fe2b06ab-92c4-4ff5-ad4a-261d37b38c09" providerId="ADAL" clId="{AA0F7360-E3CB-4846-888E-16636A8FD57B}" dt="2026-02-13T10:10:15.831" v="31" actId="20577"/>
          <ac:spMkLst>
            <pc:docMk/>
            <pc:sldMk cId="2867659844" sldId="2147377411"/>
            <ac:spMk id="79" creationId="{CA220A51-BB2F-0C4F-3DA5-6A96EAF5D631}"/>
          </ac:spMkLst>
        </pc:spChg>
        <pc:picChg chg="add mod ord">
          <ac:chgData name="Laura Breebaart" userId="fe2b06ab-92c4-4ff5-ad4a-261d37b38c09" providerId="ADAL" clId="{AA0F7360-E3CB-4846-888E-16636A8FD57B}" dt="2026-02-13T10:10:09.136" v="9" actId="171"/>
          <ac:picMkLst>
            <pc:docMk/>
            <pc:sldMk cId="2867659844" sldId="2147377411"/>
            <ac:picMk id="6" creationId="{3AEF2F16-DA79-5448-3CAC-97193BAF17DE}"/>
          </ac:picMkLst>
        </pc:picChg>
        <pc:picChg chg="del">
          <ac:chgData name="Laura Breebaart" userId="fe2b06ab-92c4-4ff5-ad4a-261d37b38c09" providerId="ADAL" clId="{AA0F7360-E3CB-4846-888E-16636A8FD57B}" dt="2026-02-13T10:09:33.206" v="1" actId="478"/>
          <ac:picMkLst>
            <pc:docMk/>
            <pc:sldMk cId="2867659844" sldId="2147377411"/>
            <ac:picMk id="7" creationId="{3D348FBD-0FE2-2A3B-D923-EC2D00AA965E}"/>
          </ac:picMkLst>
        </pc:picChg>
      </pc:sldChg>
      <pc:sldChg chg="modSp mod">
        <pc:chgData name="Laura Breebaart" userId="fe2b06ab-92c4-4ff5-ad4a-261d37b38c09" providerId="ADAL" clId="{AA0F7360-E3CB-4846-888E-16636A8FD57B}" dt="2026-02-13T10:11:14.409" v="115" actId="115"/>
        <pc:sldMkLst>
          <pc:docMk/>
          <pc:sldMk cId="3403655206" sldId="2147377414"/>
        </pc:sldMkLst>
        <pc:spChg chg="mod">
          <ac:chgData name="Laura Breebaart" userId="fe2b06ab-92c4-4ff5-ad4a-261d37b38c09" providerId="ADAL" clId="{AA0F7360-E3CB-4846-888E-16636A8FD57B}" dt="2026-02-13T10:11:14.409" v="115" actId="115"/>
          <ac:spMkLst>
            <pc:docMk/>
            <pc:sldMk cId="3403655206" sldId="2147377414"/>
            <ac:spMk id="9" creationId="{52D43EDF-40A7-6D84-3AE3-46CC61ABE500}"/>
          </ac:spMkLst>
        </pc:spChg>
      </pc:sldChg>
    </pc:docChg>
  </pc:docChgLst>
  <pc:docChgLst>
    <pc:chgData name="Mariska Lootsma" userId="9d865276-fc5f-45a0-b38f-2d8cc86cc0d9" providerId="ADAL" clId="{7BCE02A8-774E-44C7-A924-1D8B93801485}"/>
    <pc:docChg chg="delSld modSection">
      <pc:chgData name="Mariska Lootsma" userId="9d865276-fc5f-45a0-b38f-2d8cc86cc0d9" providerId="ADAL" clId="{7BCE02A8-774E-44C7-A924-1D8B93801485}" dt="2026-02-09T14:26:22.593" v="10" actId="47"/>
      <pc:docMkLst>
        <pc:docMk/>
      </pc:docMkLst>
      <pc:sldMasterChg chg="delSldLayout">
        <pc:chgData name="Mariska Lootsma" userId="9d865276-fc5f-45a0-b38f-2d8cc86cc0d9" providerId="ADAL" clId="{7BCE02A8-774E-44C7-A924-1D8B93801485}" dt="2026-02-09T14:26:10.954" v="1" actId="47"/>
        <pc:sldMasterMkLst>
          <pc:docMk/>
          <pc:sldMasterMk cId="1896732434" sldId="2147483680"/>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30D67F-EBF3-44E5-B500-C7195C9B5386}" type="datetimeFigureOut">
              <a:rPr lang="nl-NL" smtClean="0"/>
              <a:t>13-2-2026</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1D6238-0CB1-494A-B031-C7EF5F6C05AB}" type="slidenum">
              <a:rPr lang="nl-NL" smtClean="0"/>
              <a:t>‹nr.›</a:t>
            </a:fld>
            <a:endParaRPr lang="nl-NL"/>
          </a:p>
        </p:txBody>
      </p:sp>
    </p:spTree>
    <p:extLst>
      <p:ext uri="{BB962C8B-B14F-4D97-AF65-F5344CB8AC3E}">
        <p14:creationId xmlns:p14="http://schemas.microsoft.com/office/powerpoint/2010/main" val="4105432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71450" y="1143000"/>
            <a:ext cx="5486400" cy="3086100"/>
          </a:xfrm>
          <a:prstGeom prst="rect">
            <a:avLst/>
          </a:prstGeom>
          <a:noFill/>
          <a:ln w="12700">
            <a:solidFill>
              <a:prstClr val="black"/>
            </a:solidFill>
          </a:ln>
        </p:spPr>
      </p:sp>
      <p:sp>
        <p:nvSpPr>
          <p:cNvPr id="3" name="Tijdelijke aanduiding voor notities 2"/>
          <p:cNvSpPr>
            <a:spLocks noGrp="1"/>
          </p:cNvSpPr>
          <p:nvPr>
            <p:ph type="body" idx="1"/>
          </p:nvPr>
        </p:nvSpPr>
        <p:spPr>
          <a:xfrm>
            <a:off x="514350" y="4400550"/>
            <a:ext cx="4114800" cy="3600450"/>
          </a:xfrm>
          <a:prstGeom prst="rect">
            <a:avLst/>
          </a:prstGeom>
        </p:spPr>
        <p:txBody>
          <a:bodyPr/>
          <a:lstStyle/>
          <a:p>
            <a:r>
              <a:rPr lang="nl-NL" dirty="0"/>
              <a:t>*Symptomenchecker van </a:t>
            </a:r>
            <a:r>
              <a:rPr lang="nl-NL" dirty="0" err="1"/>
              <a:t>Infermedica</a:t>
            </a:r>
            <a:endParaRPr lang="nl-NL" dirty="0"/>
          </a:p>
        </p:txBody>
      </p:sp>
    </p:spTree>
    <p:extLst>
      <p:ext uri="{BB962C8B-B14F-4D97-AF65-F5344CB8AC3E}">
        <p14:creationId xmlns:p14="http://schemas.microsoft.com/office/powerpoint/2010/main" val="1708193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8616123-96D9-244E-A699-D436957226AF}" type="slidenum">
              <a:rPr lang="nl-NL" smtClean="0"/>
              <a:t>4</a:t>
            </a:fld>
            <a:endParaRPr lang="nl-NL"/>
          </a:p>
        </p:txBody>
      </p:sp>
    </p:spTree>
    <p:extLst>
      <p:ext uri="{BB962C8B-B14F-4D97-AF65-F5344CB8AC3E}">
        <p14:creationId xmlns:p14="http://schemas.microsoft.com/office/powerpoint/2010/main" val="22938420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500777"/>
      </p:ext>
    </p:extLst>
  </p:cSld>
  <p:clrMapOvr>
    <a:masterClrMapping/>
  </p:clrMapOvr>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ie ben ik?">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12192000" cy="3429000"/>
          </a:xfrm>
          <a:prstGeom prst="rect">
            <a:avLst/>
          </a:prstGeom>
          <a:solidFill>
            <a:schemeClr val="accent5"/>
          </a:solidFill>
          <a:ln>
            <a:noFill/>
          </a:ln>
          <a:effectLst/>
        </p:spPr>
        <p:txBody>
          <a:bodyPr vert="horz" wrap="square" lIns="91440" tIns="45720" rIns="91440" bIns="45720" numCol="1" anchor="t" anchorCtr="0" compatLnSpc="1">
            <a:prstTxWarp prst="textNoShape">
              <a:avLst/>
            </a:prstTxWarp>
          </a:bodyPr>
          <a:lstStyle>
            <a:lvl1pPr>
              <a:defRPr lang="en-US" sz="100">
                <a:latin typeface="Inria Sans" pitchFamily="50" charset="0"/>
              </a:defRPr>
            </a:lvl1pPr>
          </a:lstStyle>
          <a:p>
            <a:pPr lvl="0"/>
            <a:r>
              <a:rPr lang="nl-NL"/>
              <a:t>Klik op het pictogram als u een afbeelding wilt toevoegen</a:t>
            </a:r>
            <a:endParaRPr lang="en-US"/>
          </a:p>
        </p:txBody>
      </p:sp>
      <p:sp>
        <p:nvSpPr>
          <p:cNvPr id="5" name="Title 1">
            <a:extLst>
              <a:ext uri="{FF2B5EF4-FFF2-40B4-BE49-F238E27FC236}">
                <a16:creationId xmlns:a16="http://schemas.microsoft.com/office/drawing/2014/main" id="{0CBF1CD6-3AAF-A043-B1A7-DE7470FAFE6E}"/>
              </a:ext>
            </a:extLst>
          </p:cNvPr>
          <p:cNvSpPr>
            <a:spLocks noGrp="1"/>
          </p:cNvSpPr>
          <p:nvPr>
            <p:ph type="title" hasCustomPrompt="1"/>
          </p:nvPr>
        </p:nvSpPr>
        <p:spPr>
          <a:xfrm>
            <a:off x="0" y="2719307"/>
            <a:ext cx="12191999" cy="709693"/>
          </a:xfrm>
          <a:prstGeom prst="rect">
            <a:avLst/>
          </a:prstGeom>
          <a:solidFill>
            <a:srgbClr val="FFFFFF">
              <a:alpha val="50196"/>
            </a:srgbClr>
          </a:solidFill>
        </p:spPr>
        <p:txBody>
          <a:bodyPr lIns="3600000" tIns="0" rIns="540000" bIns="72000" anchor="b" anchorCtr="0"/>
          <a:lstStyle>
            <a:lvl1pPr>
              <a:defRPr sz="3600">
                <a:solidFill>
                  <a:schemeClr val="tx1"/>
                </a:solidFill>
                <a:latin typeface="Inria Sans" pitchFamily="50" charset="0"/>
              </a:defRPr>
            </a:lvl1pPr>
          </a:lstStyle>
          <a:p>
            <a:r>
              <a:rPr lang="nl-NL" noProof="0"/>
              <a:t>Klik hier om een naam te plaatsen</a:t>
            </a:r>
          </a:p>
        </p:txBody>
      </p:sp>
      <p:sp>
        <p:nvSpPr>
          <p:cNvPr id="4" name="Freeform 5"/>
          <p:cNvSpPr>
            <a:spLocks noGrp="1"/>
          </p:cNvSpPr>
          <p:nvPr>
            <p:ph type="pic" sz="quarter" idx="10"/>
          </p:nvPr>
        </p:nvSpPr>
        <p:spPr bwMode="auto">
          <a:xfrm>
            <a:off x="889000" y="1965951"/>
            <a:ext cx="2336800" cy="2706932"/>
          </a:xfrm>
          <a:custGeom>
            <a:avLst/>
            <a:gdLst>
              <a:gd name="T0" fmla="*/ 7903 w 14000"/>
              <a:gd name="T1" fmla="*/ 8 h 16220"/>
              <a:gd name="T2" fmla="*/ 8865 w 14000"/>
              <a:gd name="T3" fmla="*/ 132 h 16220"/>
              <a:gd name="T4" fmla="*/ 9777 w 14000"/>
              <a:gd name="T5" fmla="*/ 393 h 16220"/>
              <a:gd name="T6" fmla="*/ 10630 w 14000"/>
              <a:gd name="T7" fmla="*/ 783 h 16220"/>
              <a:gd name="T8" fmla="*/ 11412 w 14000"/>
              <a:gd name="T9" fmla="*/ 1287 h 16220"/>
              <a:gd name="T10" fmla="*/ 12112 w 14000"/>
              <a:gd name="T11" fmla="*/ 1897 h 16220"/>
              <a:gd name="T12" fmla="*/ 12719 w 14000"/>
              <a:gd name="T13" fmla="*/ 2600 h 16220"/>
              <a:gd name="T14" fmla="*/ 13221 w 14000"/>
              <a:gd name="T15" fmla="*/ 3386 h 16220"/>
              <a:gd name="T16" fmla="*/ 13609 w 14000"/>
              <a:gd name="T17" fmla="*/ 4244 h 16220"/>
              <a:gd name="T18" fmla="*/ 13869 w 14000"/>
              <a:gd name="T19" fmla="*/ 5160 h 16220"/>
              <a:gd name="T20" fmla="*/ 13992 w 14000"/>
              <a:gd name="T21" fmla="*/ 6126 h 16220"/>
              <a:gd name="T22" fmla="*/ 13992 w 14000"/>
              <a:gd name="T23" fmla="*/ 10094 h 16220"/>
              <a:gd name="T24" fmla="*/ 13869 w 14000"/>
              <a:gd name="T25" fmla="*/ 11060 h 16220"/>
              <a:gd name="T26" fmla="*/ 13609 w 14000"/>
              <a:gd name="T27" fmla="*/ 11977 h 16220"/>
              <a:gd name="T28" fmla="*/ 13221 w 14000"/>
              <a:gd name="T29" fmla="*/ 12834 h 16220"/>
              <a:gd name="T30" fmla="*/ 12719 w 14000"/>
              <a:gd name="T31" fmla="*/ 13620 h 16220"/>
              <a:gd name="T32" fmla="*/ 12112 w 14000"/>
              <a:gd name="T33" fmla="*/ 14323 h 16220"/>
              <a:gd name="T34" fmla="*/ 11412 w 14000"/>
              <a:gd name="T35" fmla="*/ 14934 h 16220"/>
              <a:gd name="T36" fmla="*/ 10630 w 14000"/>
              <a:gd name="T37" fmla="*/ 15438 h 16220"/>
              <a:gd name="T38" fmla="*/ 9777 w 14000"/>
              <a:gd name="T39" fmla="*/ 15827 h 16220"/>
              <a:gd name="T40" fmla="*/ 8865 w 14000"/>
              <a:gd name="T41" fmla="*/ 16088 h 16220"/>
              <a:gd name="T42" fmla="*/ 7903 w 14000"/>
              <a:gd name="T43" fmla="*/ 16212 h 16220"/>
              <a:gd name="T44" fmla="*/ 6097 w 14000"/>
              <a:gd name="T45" fmla="*/ 16212 h 16220"/>
              <a:gd name="T46" fmla="*/ 5135 w 14000"/>
              <a:gd name="T47" fmla="*/ 16088 h 16220"/>
              <a:gd name="T48" fmla="*/ 4222 w 14000"/>
              <a:gd name="T49" fmla="*/ 15827 h 16220"/>
              <a:gd name="T50" fmla="*/ 3370 w 14000"/>
              <a:gd name="T51" fmla="*/ 15438 h 16220"/>
              <a:gd name="T52" fmla="*/ 2588 w 14000"/>
              <a:gd name="T53" fmla="*/ 14934 h 16220"/>
              <a:gd name="T54" fmla="*/ 1888 w 14000"/>
              <a:gd name="T55" fmla="*/ 14323 h 16220"/>
              <a:gd name="T56" fmla="*/ 1280 w 14000"/>
              <a:gd name="T57" fmla="*/ 13620 h 16220"/>
              <a:gd name="T58" fmla="*/ 779 w 14000"/>
              <a:gd name="T59" fmla="*/ 12834 h 16220"/>
              <a:gd name="T60" fmla="*/ 391 w 14000"/>
              <a:gd name="T61" fmla="*/ 11977 h 16220"/>
              <a:gd name="T62" fmla="*/ 131 w 14000"/>
              <a:gd name="T63" fmla="*/ 11060 h 16220"/>
              <a:gd name="T64" fmla="*/ 8 w 14000"/>
              <a:gd name="T65" fmla="*/ 10094 h 16220"/>
              <a:gd name="T66" fmla="*/ 8 w 14000"/>
              <a:gd name="T67" fmla="*/ 6126 h 16220"/>
              <a:gd name="T68" fmla="*/ 131 w 14000"/>
              <a:gd name="T69" fmla="*/ 5160 h 16220"/>
              <a:gd name="T70" fmla="*/ 391 w 14000"/>
              <a:gd name="T71" fmla="*/ 4244 h 16220"/>
              <a:gd name="T72" fmla="*/ 779 w 14000"/>
              <a:gd name="T73" fmla="*/ 3386 h 16220"/>
              <a:gd name="T74" fmla="*/ 1280 w 14000"/>
              <a:gd name="T75" fmla="*/ 2600 h 16220"/>
              <a:gd name="T76" fmla="*/ 1888 w 14000"/>
              <a:gd name="T77" fmla="*/ 1897 h 16220"/>
              <a:gd name="T78" fmla="*/ 2588 w 14000"/>
              <a:gd name="T79" fmla="*/ 1287 h 16220"/>
              <a:gd name="T80" fmla="*/ 3370 w 14000"/>
              <a:gd name="T81" fmla="*/ 783 h 16220"/>
              <a:gd name="T82" fmla="*/ 4222 w 14000"/>
              <a:gd name="T83" fmla="*/ 393 h 16220"/>
              <a:gd name="T84" fmla="*/ 5135 w 14000"/>
              <a:gd name="T85" fmla="*/ 132 h 16220"/>
              <a:gd name="T86" fmla="*/ 6097 w 14000"/>
              <a:gd name="T87" fmla="*/ 8 h 16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00" h="16220">
                <a:moveTo>
                  <a:pt x="6426" y="0"/>
                </a:moveTo>
                <a:lnTo>
                  <a:pt x="7574" y="0"/>
                </a:lnTo>
                <a:lnTo>
                  <a:pt x="7903" y="8"/>
                </a:lnTo>
                <a:lnTo>
                  <a:pt x="8228" y="33"/>
                </a:lnTo>
                <a:lnTo>
                  <a:pt x="8549" y="75"/>
                </a:lnTo>
                <a:lnTo>
                  <a:pt x="8865" y="132"/>
                </a:lnTo>
                <a:lnTo>
                  <a:pt x="9175" y="205"/>
                </a:lnTo>
                <a:lnTo>
                  <a:pt x="9479" y="292"/>
                </a:lnTo>
                <a:lnTo>
                  <a:pt x="9777" y="393"/>
                </a:lnTo>
                <a:lnTo>
                  <a:pt x="10068" y="510"/>
                </a:lnTo>
                <a:lnTo>
                  <a:pt x="10353" y="640"/>
                </a:lnTo>
                <a:lnTo>
                  <a:pt x="10630" y="783"/>
                </a:lnTo>
                <a:lnTo>
                  <a:pt x="10899" y="939"/>
                </a:lnTo>
                <a:lnTo>
                  <a:pt x="11160" y="1107"/>
                </a:lnTo>
                <a:lnTo>
                  <a:pt x="11412" y="1287"/>
                </a:lnTo>
                <a:lnTo>
                  <a:pt x="11655" y="1479"/>
                </a:lnTo>
                <a:lnTo>
                  <a:pt x="11888" y="1683"/>
                </a:lnTo>
                <a:lnTo>
                  <a:pt x="12112" y="1897"/>
                </a:lnTo>
                <a:lnTo>
                  <a:pt x="12325" y="2122"/>
                </a:lnTo>
                <a:lnTo>
                  <a:pt x="12528" y="2356"/>
                </a:lnTo>
                <a:lnTo>
                  <a:pt x="12719" y="2600"/>
                </a:lnTo>
                <a:lnTo>
                  <a:pt x="12898" y="2854"/>
                </a:lnTo>
                <a:lnTo>
                  <a:pt x="13066" y="3115"/>
                </a:lnTo>
                <a:lnTo>
                  <a:pt x="13221" y="3386"/>
                </a:lnTo>
                <a:lnTo>
                  <a:pt x="13363" y="3665"/>
                </a:lnTo>
                <a:lnTo>
                  <a:pt x="13493" y="3951"/>
                </a:lnTo>
                <a:lnTo>
                  <a:pt x="13609" y="4244"/>
                </a:lnTo>
                <a:lnTo>
                  <a:pt x="13709" y="4543"/>
                </a:lnTo>
                <a:lnTo>
                  <a:pt x="13796" y="4849"/>
                </a:lnTo>
                <a:lnTo>
                  <a:pt x="13869" y="5160"/>
                </a:lnTo>
                <a:lnTo>
                  <a:pt x="13925" y="5477"/>
                </a:lnTo>
                <a:lnTo>
                  <a:pt x="13967" y="5800"/>
                </a:lnTo>
                <a:lnTo>
                  <a:pt x="13992" y="6126"/>
                </a:lnTo>
                <a:lnTo>
                  <a:pt x="14000" y="6458"/>
                </a:lnTo>
                <a:lnTo>
                  <a:pt x="14000" y="9762"/>
                </a:lnTo>
                <a:lnTo>
                  <a:pt x="13992" y="10094"/>
                </a:lnTo>
                <a:lnTo>
                  <a:pt x="13967" y="10420"/>
                </a:lnTo>
                <a:lnTo>
                  <a:pt x="13925" y="10743"/>
                </a:lnTo>
                <a:lnTo>
                  <a:pt x="13869" y="11060"/>
                </a:lnTo>
                <a:lnTo>
                  <a:pt x="13796" y="11372"/>
                </a:lnTo>
                <a:lnTo>
                  <a:pt x="13709" y="11677"/>
                </a:lnTo>
                <a:lnTo>
                  <a:pt x="13609" y="11977"/>
                </a:lnTo>
                <a:lnTo>
                  <a:pt x="13493" y="12270"/>
                </a:lnTo>
                <a:lnTo>
                  <a:pt x="13363" y="12556"/>
                </a:lnTo>
                <a:lnTo>
                  <a:pt x="13221" y="12834"/>
                </a:lnTo>
                <a:lnTo>
                  <a:pt x="13066" y="13105"/>
                </a:lnTo>
                <a:lnTo>
                  <a:pt x="12898" y="13366"/>
                </a:lnTo>
                <a:lnTo>
                  <a:pt x="12719" y="13620"/>
                </a:lnTo>
                <a:lnTo>
                  <a:pt x="12528" y="13864"/>
                </a:lnTo>
                <a:lnTo>
                  <a:pt x="12325" y="14099"/>
                </a:lnTo>
                <a:lnTo>
                  <a:pt x="12112" y="14323"/>
                </a:lnTo>
                <a:lnTo>
                  <a:pt x="11888" y="14537"/>
                </a:lnTo>
                <a:lnTo>
                  <a:pt x="11655" y="14741"/>
                </a:lnTo>
                <a:lnTo>
                  <a:pt x="11412" y="14934"/>
                </a:lnTo>
                <a:lnTo>
                  <a:pt x="11160" y="15114"/>
                </a:lnTo>
                <a:lnTo>
                  <a:pt x="10899" y="15282"/>
                </a:lnTo>
                <a:lnTo>
                  <a:pt x="10630" y="15438"/>
                </a:lnTo>
                <a:lnTo>
                  <a:pt x="10353" y="15581"/>
                </a:lnTo>
                <a:lnTo>
                  <a:pt x="10068" y="15711"/>
                </a:lnTo>
                <a:lnTo>
                  <a:pt x="9777" y="15827"/>
                </a:lnTo>
                <a:lnTo>
                  <a:pt x="9479" y="15929"/>
                </a:lnTo>
                <a:lnTo>
                  <a:pt x="9175" y="16016"/>
                </a:lnTo>
                <a:lnTo>
                  <a:pt x="8865" y="16088"/>
                </a:lnTo>
                <a:lnTo>
                  <a:pt x="8549" y="16145"/>
                </a:lnTo>
                <a:lnTo>
                  <a:pt x="8228" y="16187"/>
                </a:lnTo>
                <a:lnTo>
                  <a:pt x="7903" y="16212"/>
                </a:lnTo>
                <a:lnTo>
                  <a:pt x="7574" y="16220"/>
                </a:lnTo>
                <a:lnTo>
                  <a:pt x="6426" y="16220"/>
                </a:lnTo>
                <a:lnTo>
                  <a:pt x="6097" y="16212"/>
                </a:lnTo>
                <a:lnTo>
                  <a:pt x="5772" y="16187"/>
                </a:lnTo>
                <a:lnTo>
                  <a:pt x="5451" y="16145"/>
                </a:lnTo>
                <a:lnTo>
                  <a:pt x="5135" y="16088"/>
                </a:lnTo>
                <a:lnTo>
                  <a:pt x="4824" y="16016"/>
                </a:lnTo>
                <a:lnTo>
                  <a:pt x="4521" y="15929"/>
                </a:lnTo>
                <a:lnTo>
                  <a:pt x="4222" y="15827"/>
                </a:lnTo>
                <a:lnTo>
                  <a:pt x="3931" y="15711"/>
                </a:lnTo>
                <a:lnTo>
                  <a:pt x="3646" y="15581"/>
                </a:lnTo>
                <a:lnTo>
                  <a:pt x="3370" y="15438"/>
                </a:lnTo>
                <a:lnTo>
                  <a:pt x="3100" y="15282"/>
                </a:lnTo>
                <a:lnTo>
                  <a:pt x="2840" y="15114"/>
                </a:lnTo>
                <a:lnTo>
                  <a:pt x="2588" y="14934"/>
                </a:lnTo>
                <a:lnTo>
                  <a:pt x="2345" y="14741"/>
                </a:lnTo>
                <a:lnTo>
                  <a:pt x="2111" y="14537"/>
                </a:lnTo>
                <a:lnTo>
                  <a:pt x="1888" y="14323"/>
                </a:lnTo>
                <a:lnTo>
                  <a:pt x="1675" y="14099"/>
                </a:lnTo>
                <a:lnTo>
                  <a:pt x="1472" y="13864"/>
                </a:lnTo>
                <a:lnTo>
                  <a:pt x="1280" y="13620"/>
                </a:lnTo>
                <a:lnTo>
                  <a:pt x="1102" y="13366"/>
                </a:lnTo>
                <a:lnTo>
                  <a:pt x="933" y="13105"/>
                </a:lnTo>
                <a:lnTo>
                  <a:pt x="779" y="12834"/>
                </a:lnTo>
                <a:lnTo>
                  <a:pt x="636" y="12556"/>
                </a:lnTo>
                <a:lnTo>
                  <a:pt x="506" y="12270"/>
                </a:lnTo>
                <a:lnTo>
                  <a:pt x="391" y="11977"/>
                </a:lnTo>
                <a:lnTo>
                  <a:pt x="290" y="11677"/>
                </a:lnTo>
                <a:lnTo>
                  <a:pt x="203" y="11372"/>
                </a:lnTo>
                <a:lnTo>
                  <a:pt x="131" y="11060"/>
                </a:lnTo>
                <a:lnTo>
                  <a:pt x="75" y="10743"/>
                </a:lnTo>
                <a:lnTo>
                  <a:pt x="33" y="10420"/>
                </a:lnTo>
                <a:lnTo>
                  <a:pt x="8" y="10094"/>
                </a:lnTo>
                <a:lnTo>
                  <a:pt x="0" y="9762"/>
                </a:lnTo>
                <a:lnTo>
                  <a:pt x="0" y="6458"/>
                </a:lnTo>
                <a:lnTo>
                  <a:pt x="8" y="6126"/>
                </a:lnTo>
                <a:lnTo>
                  <a:pt x="33" y="5800"/>
                </a:lnTo>
                <a:lnTo>
                  <a:pt x="75" y="5477"/>
                </a:lnTo>
                <a:lnTo>
                  <a:pt x="131" y="5160"/>
                </a:lnTo>
                <a:lnTo>
                  <a:pt x="203" y="4849"/>
                </a:lnTo>
                <a:lnTo>
                  <a:pt x="290" y="4543"/>
                </a:lnTo>
                <a:lnTo>
                  <a:pt x="391" y="4244"/>
                </a:lnTo>
                <a:lnTo>
                  <a:pt x="506" y="3951"/>
                </a:lnTo>
                <a:lnTo>
                  <a:pt x="636" y="3665"/>
                </a:lnTo>
                <a:lnTo>
                  <a:pt x="779" y="3386"/>
                </a:lnTo>
                <a:lnTo>
                  <a:pt x="933" y="3115"/>
                </a:lnTo>
                <a:lnTo>
                  <a:pt x="1102" y="2854"/>
                </a:lnTo>
                <a:lnTo>
                  <a:pt x="1280" y="2600"/>
                </a:lnTo>
                <a:lnTo>
                  <a:pt x="1472" y="2356"/>
                </a:lnTo>
                <a:lnTo>
                  <a:pt x="1675" y="2122"/>
                </a:lnTo>
                <a:lnTo>
                  <a:pt x="1888" y="1897"/>
                </a:lnTo>
                <a:lnTo>
                  <a:pt x="2111" y="1683"/>
                </a:lnTo>
                <a:lnTo>
                  <a:pt x="2345" y="1479"/>
                </a:lnTo>
                <a:lnTo>
                  <a:pt x="2588" y="1287"/>
                </a:lnTo>
                <a:lnTo>
                  <a:pt x="2840" y="1107"/>
                </a:lnTo>
                <a:lnTo>
                  <a:pt x="3100" y="939"/>
                </a:lnTo>
                <a:lnTo>
                  <a:pt x="3370" y="783"/>
                </a:lnTo>
                <a:lnTo>
                  <a:pt x="3646" y="640"/>
                </a:lnTo>
                <a:lnTo>
                  <a:pt x="3931" y="510"/>
                </a:lnTo>
                <a:lnTo>
                  <a:pt x="4222" y="393"/>
                </a:lnTo>
                <a:lnTo>
                  <a:pt x="4521" y="292"/>
                </a:lnTo>
                <a:lnTo>
                  <a:pt x="4824" y="205"/>
                </a:lnTo>
                <a:lnTo>
                  <a:pt x="5135" y="132"/>
                </a:lnTo>
                <a:lnTo>
                  <a:pt x="5451" y="75"/>
                </a:lnTo>
                <a:lnTo>
                  <a:pt x="5772" y="33"/>
                </a:lnTo>
                <a:lnTo>
                  <a:pt x="6097" y="8"/>
                </a:lnTo>
                <a:lnTo>
                  <a:pt x="6426" y="0"/>
                </a:ln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lvl1pPr>
              <a:defRPr lang="ru-RU" sz="100"/>
            </a:lvl1pPr>
          </a:lstStyle>
          <a:p>
            <a:pPr lvl="0"/>
            <a:r>
              <a:rPr lang="nl-NL"/>
              <a:t>Klik op het pictogram als u een afbeelding wilt toevoegen</a:t>
            </a:r>
            <a:endParaRPr lang="ru-RU"/>
          </a:p>
        </p:txBody>
      </p:sp>
      <p:sp>
        <p:nvSpPr>
          <p:cNvPr id="6" name="Text Placeholder 5">
            <a:extLst>
              <a:ext uri="{FF2B5EF4-FFF2-40B4-BE49-F238E27FC236}">
                <a16:creationId xmlns:a16="http://schemas.microsoft.com/office/drawing/2014/main" id="{17351CE9-BDCE-2447-9BFE-1B341902157A}"/>
              </a:ext>
            </a:extLst>
          </p:cNvPr>
          <p:cNvSpPr>
            <a:spLocks noGrp="1"/>
          </p:cNvSpPr>
          <p:nvPr>
            <p:ph type="body" sz="quarter" idx="11" hasCustomPrompt="1"/>
          </p:nvPr>
        </p:nvSpPr>
        <p:spPr>
          <a:xfrm>
            <a:off x="3630209" y="3587955"/>
            <a:ext cx="7325966" cy="462986"/>
          </a:xfrm>
          <a:prstGeom prst="rect">
            <a:avLst/>
          </a:prstGeom>
        </p:spPr>
        <p:txBody>
          <a:bodyPr lIns="0"/>
          <a:lstStyle>
            <a:lvl1pPr marL="0" indent="0">
              <a:buNone/>
              <a:defRPr sz="2000" b="0">
                <a:solidFill>
                  <a:schemeClr val="tx1"/>
                </a:solidFill>
                <a:latin typeface="Inria Sans" pitchFamily="50" charset="0"/>
              </a:defRPr>
            </a:lvl1pPr>
          </a:lstStyle>
          <a:p>
            <a:pPr lvl="0"/>
            <a:r>
              <a:rPr lang="nl-NL" noProof="0"/>
              <a:t>Klik hier om andere gegevens te plaatsen</a:t>
            </a:r>
          </a:p>
        </p:txBody>
      </p:sp>
    </p:spTree>
    <p:extLst>
      <p:ext uri="{BB962C8B-B14F-4D97-AF65-F5344CB8AC3E}">
        <p14:creationId xmlns:p14="http://schemas.microsoft.com/office/powerpoint/2010/main" val="3670341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s + iphon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7FABA5-4118-4203-BA93-DBCD7FC450E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647939" y="1732998"/>
            <a:ext cx="4150362" cy="4150362"/>
          </a:xfrm>
          <a:prstGeom prst="rect">
            <a:avLst/>
          </a:prstGeom>
          <a:effectLst>
            <a:reflection blurRad="6350" stA="52000" endA="300" endPos="5000" dir="5400000" sy="-100000" algn="bl" rotWithShape="0"/>
          </a:effectLst>
        </p:spPr>
      </p:pic>
      <p:sp>
        <p:nvSpPr>
          <p:cNvPr id="9" name="Tijdelijke aanduiding voor afbeelding 8">
            <a:extLst>
              <a:ext uri="{FF2B5EF4-FFF2-40B4-BE49-F238E27FC236}">
                <a16:creationId xmlns:a16="http://schemas.microsoft.com/office/drawing/2014/main" id="{7AC03326-A076-4F94-9CFB-3CB9CB975FB3}"/>
              </a:ext>
            </a:extLst>
          </p:cNvPr>
          <p:cNvSpPr>
            <a:spLocks noGrp="1"/>
          </p:cNvSpPr>
          <p:nvPr>
            <p:ph type="pic" sz="quarter" idx="14" hasCustomPrompt="1"/>
          </p:nvPr>
        </p:nvSpPr>
        <p:spPr>
          <a:xfrm>
            <a:off x="8805863" y="1928813"/>
            <a:ext cx="1728788" cy="3743325"/>
          </a:xfrm>
          <a:custGeom>
            <a:avLst/>
            <a:gdLst>
              <a:gd name="connsiteX0" fmla="*/ 183355 w 1728788"/>
              <a:gd name="connsiteY0" fmla="*/ 0 h 3743325"/>
              <a:gd name="connsiteX1" fmla="*/ 385762 w 1728788"/>
              <a:gd name="connsiteY1" fmla="*/ 0 h 3743325"/>
              <a:gd name="connsiteX2" fmla="*/ 385762 w 1728788"/>
              <a:gd name="connsiteY2" fmla="*/ 42066 h 3743325"/>
              <a:gd name="connsiteX3" fmla="*/ 481808 w 1728788"/>
              <a:gd name="connsiteY3" fmla="*/ 138112 h 3743325"/>
              <a:gd name="connsiteX4" fmla="*/ 1251741 w 1728788"/>
              <a:gd name="connsiteY4" fmla="*/ 138112 h 3743325"/>
              <a:gd name="connsiteX5" fmla="*/ 1347787 w 1728788"/>
              <a:gd name="connsiteY5" fmla="*/ 42066 h 3743325"/>
              <a:gd name="connsiteX6" fmla="*/ 1347787 w 1728788"/>
              <a:gd name="connsiteY6" fmla="*/ 0 h 3743325"/>
              <a:gd name="connsiteX7" fmla="*/ 1545433 w 1728788"/>
              <a:gd name="connsiteY7" fmla="*/ 0 h 3743325"/>
              <a:gd name="connsiteX8" fmla="*/ 1728788 w 1728788"/>
              <a:gd name="connsiteY8" fmla="*/ 183355 h 3743325"/>
              <a:gd name="connsiteX9" fmla="*/ 1728788 w 1728788"/>
              <a:gd name="connsiteY9" fmla="*/ 3559970 h 3743325"/>
              <a:gd name="connsiteX10" fmla="*/ 1545433 w 1728788"/>
              <a:gd name="connsiteY10" fmla="*/ 3743325 h 3743325"/>
              <a:gd name="connsiteX11" fmla="*/ 183355 w 1728788"/>
              <a:gd name="connsiteY11" fmla="*/ 3743325 h 3743325"/>
              <a:gd name="connsiteX12" fmla="*/ 0 w 1728788"/>
              <a:gd name="connsiteY12" fmla="*/ 3559970 h 3743325"/>
              <a:gd name="connsiteX13" fmla="*/ 0 w 1728788"/>
              <a:gd name="connsiteY13" fmla="*/ 183355 h 3743325"/>
              <a:gd name="connsiteX14" fmla="*/ 183355 w 1728788"/>
              <a:gd name="connsiteY14"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8788" h="3743325">
                <a:moveTo>
                  <a:pt x="183355" y="0"/>
                </a:moveTo>
                <a:lnTo>
                  <a:pt x="385762" y="0"/>
                </a:lnTo>
                <a:lnTo>
                  <a:pt x="385762" y="42066"/>
                </a:lnTo>
                <a:cubicBezTo>
                  <a:pt x="385762" y="95111"/>
                  <a:pt x="428763" y="138112"/>
                  <a:pt x="481808" y="138112"/>
                </a:cubicBezTo>
                <a:lnTo>
                  <a:pt x="1251741" y="138112"/>
                </a:lnTo>
                <a:cubicBezTo>
                  <a:pt x="1304786" y="138112"/>
                  <a:pt x="1347787" y="95111"/>
                  <a:pt x="1347787" y="42066"/>
                </a:cubicBezTo>
                <a:lnTo>
                  <a:pt x="1347787" y="0"/>
                </a:lnTo>
                <a:lnTo>
                  <a:pt x="1545433" y="0"/>
                </a:lnTo>
                <a:cubicBezTo>
                  <a:pt x="1646697" y="0"/>
                  <a:pt x="1728788" y="82091"/>
                  <a:pt x="1728788" y="183355"/>
                </a:cubicBezTo>
                <a:lnTo>
                  <a:pt x="1728788" y="3559970"/>
                </a:lnTo>
                <a:cubicBezTo>
                  <a:pt x="1728788" y="3661234"/>
                  <a:pt x="1646697" y="3743325"/>
                  <a:pt x="1545433" y="3743325"/>
                </a:cubicBezTo>
                <a:lnTo>
                  <a:pt x="183355" y="3743325"/>
                </a:lnTo>
                <a:cubicBezTo>
                  <a:pt x="82091" y="3743325"/>
                  <a:pt x="0" y="3661234"/>
                  <a:pt x="0" y="3559970"/>
                </a:cubicBezTo>
                <a:lnTo>
                  <a:pt x="0" y="183355"/>
                </a:lnTo>
                <a:cubicBezTo>
                  <a:pt x="0" y="82091"/>
                  <a:pt x="82091" y="0"/>
                  <a:pt x="183355" y="0"/>
                </a:cubicBezTo>
                <a:close/>
              </a:path>
            </a:pathLst>
          </a:custGeom>
          <a:pattFill prst="dkUpDiag">
            <a:fgClr>
              <a:schemeClr val="bg1">
                <a:lumMod val="75000"/>
              </a:schemeClr>
            </a:fgClr>
            <a:bgClr>
              <a:schemeClr val="bg1">
                <a:lumMod val="95000"/>
              </a:schemeClr>
            </a:bgClr>
          </a:pattFill>
        </p:spPr>
        <p:txBody>
          <a:bodyPr wrap="square" tIns="180000">
            <a:noAutofit/>
          </a:bodyPr>
          <a:lstStyle>
            <a:lvl1pPr>
              <a:defRPr lang="nl-NL" sz="1600">
                <a:latin typeface="Inria Sans" pitchFamily="50" charset="0"/>
              </a:defRPr>
            </a:lvl1pPr>
          </a:lstStyle>
          <a:p>
            <a:pPr marL="0" lvl="0" indent="0" algn="ctr">
              <a:buNone/>
            </a:pPr>
            <a:r>
              <a:rPr lang="nl-NL" noProof="0"/>
              <a:t>Klik op het icoon om een </a:t>
            </a:r>
            <a:br>
              <a:rPr lang="nl-NL" noProof="0"/>
            </a:br>
            <a:r>
              <a:rPr lang="nl-NL" noProof="0"/>
              <a:t>afbeelding te plaatsen</a:t>
            </a:r>
          </a:p>
        </p:txBody>
      </p:sp>
      <p:sp>
        <p:nvSpPr>
          <p:cNvPr id="10" name="Title 1">
            <a:extLst>
              <a:ext uri="{FF2B5EF4-FFF2-40B4-BE49-F238E27FC236}">
                <a16:creationId xmlns:a16="http://schemas.microsoft.com/office/drawing/2014/main" id="{F1282BC2-5110-CA44-8B22-969ED36BA8F6}"/>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latin typeface="Inria Sans" pitchFamily="50" charset="0"/>
              </a:defRPr>
            </a:lvl1pPr>
          </a:lstStyle>
          <a:p>
            <a:r>
              <a:rPr lang="nl-NL" noProof="0"/>
              <a:t>Klik hier om een titel te plaatsen</a:t>
            </a:r>
          </a:p>
        </p:txBody>
      </p:sp>
      <p:sp>
        <p:nvSpPr>
          <p:cNvPr id="11" name="Text Placeholder 3">
            <a:extLst>
              <a:ext uri="{FF2B5EF4-FFF2-40B4-BE49-F238E27FC236}">
                <a16:creationId xmlns:a16="http://schemas.microsoft.com/office/drawing/2014/main" id="{8DBB8563-24CC-0C4D-A70B-BC71CEEE1A54}"/>
              </a:ext>
            </a:extLst>
          </p:cNvPr>
          <p:cNvSpPr>
            <a:spLocks noGrp="1"/>
          </p:cNvSpPr>
          <p:nvPr>
            <p:ph type="body" sz="quarter" idx="10" hasCustomPrompt="1"/>
          </p:nvPr>
        </p:nvSpPr>
        <p:spPr>
          <a:xfrm>
            <a:off x="1088967" y="6318000"/>
            <a:ext cx="7248698" cy="304800"/>
          </a:xfrm>
          <a:prstGeom prst="rect">
            <a:avLst/>
          </a:prstGeom>
        </p:spPr>
        <p:txBody>
          <a:bodyPr lIns="0"/>
          <a:lstStyle>
            <a:lvl1pPr marL="0" indent="0">
              <a:lnSpc>
                <a:spcPct val="100000"/>
              </a:lnSpc>
              <a:spcBef>
                <a:spcPts val="0"/>
              </a:spcBef>
              <a:buNone/>
              <a:defRPr sz="800" i="1">
                <a:latin typeface="Inria Sans" pitchFamily="50" charset="0"/>
              </a:defRPr>
            </a:lvl1pPr>
            <a:lvl2pPr marL="457200" indent="0">
              <a:lnSpc>
                <a:spcPct val="100000"/>
              </a:lnSpc>
              <a:spcBef>
                <a:spcPts val="0"/>
              </a:spcBef>
              <a:buNone/>
              <a:defRPr sz="800" i="1">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12" name="Text Placeholder 5">
            <a:extLst>
              <a:ext uri="{FF2B5EF4-FFF2-40B4-BE49-F238E27FC236}">
                <a16:creationId xmlns:a16="http://schemas.microsoft.com/office/drawing/2014/main" id="{15E6A5AD-1B61-7E49-BEFA-0B91AC1C837D}"/>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latin typeface="Inria Sans" pitchFamily="50" charset="0"/>
              </a:defRPr>
            </a:lvl1pPr>
          </a:lstStyle>
          <a:p>
            <a:pPr lvl="0"/>
            <a:r>
              <a:rPr lang="nl-NL" noProof="0"/>
              <a:t>Klik hier om een subtitel te plaatsen</a:t>
            </a:r>
          </a:p>
        </p:txBody>
      </p:sp>
      <p:sp>
        <p:nvSpPr>
          <p:cNvPr id="13" name="Tijdelijke aanduiding voor tekst 11">
            <a:extLst>
              <a:ext uri="{FF2B5EF4-FFF2-40B4-BE49-F238E27FC236}">
                <a16:creationId xmlns:a16="http://schemas.microsoft.com/office/drawing/2014/main" id="{C3855572-0397-3040-B2CA-7796DB29F913}"/>
              </a:ext>
            </a:extLst>
          </p:cNvPr>
          <p:cNvSpPr>
            <a:spLocks noGrp="1"/>
          </p:cNvSpPr>
          <p:nvPr>
            <p:ph type="body" sz="quarter" idx="13" hasCustomPrompt="1"/>
          </p:nvPr>
        </p:nvSpPr>
        <p:spPr>
          <a:xfrm>
            <a:off x="579438" y="1944546"/>
            <a:ext cx="7758227" cy="4120588"/>
          </a:xfrm>
          <a:prstGeom prst="rect">
            <a:avLst/>
          </a:prstGeom>
        </p:spPr>
        <p:txBody>
          <a:bodyPr lIns="0" tIns="0" rIns="0" bIns="0"/>
          <a:lstStyle>
            <a:lvl1pPr marL="266700" indent="-266700">
              <a:buClr>
                <a:schemeClr val="accent5"/>
              </a:buClr>
              <a:defRPr sz="2000">
                <a:solidFill>
                  <a:schemeClr val="tx1"/>
                </a:solidFill>
                <a:latin typeface="Inria Sans" pitchFamily="50" charset="0"/>
              </a:defRPr>
            </a:lvl1pPr>
            <a:lvl2pPr marL="625475" indent="-266700">
              <a:buClr>
                <a:schemeClr val="accent5"/>
              </a:buClr>
              <a:buFont typeface="Calibri" panose="020F0502020204030204" pitchFamily="34" charset="0"/>
              <a:buChar char="-"/>
              <a:defRPr sz="1800">
                <a:solidFill>
                  <a:schemeClr val="tx1"/>
                </a:solidFill>
                <a:latin typeface="Inria Sans" pitchFamily="50" charset="0"/>
              </a:defRPr>
            </a:lvl2pPr>
            <a:lvl3pPr marL="890588" indent="-265113">
              <a:buClr>
                <a:schemeClr val="accent5"/>
              </a:buClr>
              <a:buFont typeface="Wingdings" panose="05000000000000000000" pitchFamily="2" charset="2"/>
              <a:buChar char="§"/>
              <a:defRPr sz="1600">
                <a:solidFill>
                  <a:schemeClr val="tx1">
                    <a:lumMod val="50000"/>
                    <a:lumOff val="50000"/>
                  </a:schemeClr>
                </a:solidFill>
                <a:latin typeface="Inria Sans" pitchFamily="50" charset="0"/>
              </a:defRPr>
            </a:lvl3pPr>
          </a:lstStyle>
          <a:p>
            <a:pPr lvl="0"/>
            <a:r>
              <a:rPr lang="nl-NL" noProof="0"/>
              <a:t>Plaats tekst</a:t>
            </a:r>
          </a:p>
          <a:p>
            <a:pPr lvl="1"/>
            <a:r>
              <a:rPr lang="nl-NL" noProof="0"/>
              <a:t>Tweede niveau</a:t>
            </a:r>
          </a:p>
          <a:p>
            <a:pPr lvl="2"/>
            <a:r>
              <a:rPr lang="nl-NL" noProof="0"/>
              <a:t>Derde niveau</a:t>
            </a:r>
          </a:p>
        </p:txBody>
      </p:sp>
    </p:spTree>
    <p:extLst>
      <p:ext uri="{BB962C8B-B14F-4D97-AF65-F5344CB8AC3E}">
        <p14:creationId xmlns:p14="http://schemas.microsoft.com/office/powerpoint/2010/main" val="335601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ullets + iphone">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7AC03326-A076-4F94-9CFB-3CB9CB975FB3}"/>
              </a:ext>
            </a:extLst>
          </p:cNvPr>
          <p:cNvSpPr>
            <a:spLocks noGrp="1"/>
          </p:cNvSpPr>
          <p:nvPr>
            <p:ph type="pic" sz="quarter" idx="14" hasCustomPrompt="1"/>
          </p:nvPr>
        </p:nvSpPr>
        <p:spPr>
          <a:xfrm>
            <a:off x="8816190" y="1928813"/>
            <a:ext cx="1728788" cy="3743325"/>
          </a:xfrm>
          <a:custGeom>
            <a:avLst/>
            <a:gdLst>
              <a:gd name="connsiteX0" fmla="*/ 183355 w 1728788"/>
              <a:gd name="connsiteY0" fmla="*/ 0 h 3743325"/>
              <a:gd name="connsiteX1" fmla="*/ 385762 w 1728788"/>
              <a:gd name="connsiteY1" fmla="*/ 0 h 3743325"/>
              <a:gd name="connsiteX2" fmla="*/ 385762 w 1728788"/>
              <a:gd name="connsiteY2" fmla="*/ 42066 h 3743325"/>
              <a:gd name="connsiteX3" fmla="*/ 481808 w 1728788"/>
              <a:gd name="connsiteY3" fmla="*/ 138112 h 3743325"/>
              <a:gd name="connsiteX4" fmla="*/ 1251741 w 1728788"/>
              <a:gd name="connsiteY4" fmla="*/ 138112 h 3743325"/>
              <a:gd name="connsiteX5" fmla="*/ 1347787 w 1728788"/>
              <a:gd name="connsiteY5" fmla="*/ 42066 h 3743325"/>
              <a:gd name="connsiteX6" fmla="*/ 1347787 w 1728788"/>
              <a:gd name="connsiteY6" fmla="*/ 0 h 3743325"/>
              <a:gd name="connsiteX7" fmla="*/ 1545433 w 1728788"/>
              <a:gd name="connsiteY7" fmla="*/ 0 h 3743325"/>
              <a:gd name="connsiteX8" fmla="*/ 1728788 w 1728788"/>
              <a:gd name="connsiteY8" fmla="*/ 183355 h 3743325"/>
              <a:gd name="connsiteX9" fmla="*/ 1728788 w 1728788"/>
              <a:gd name="connsiteY9" fmla="*/ 3559970 h 3743325"/>
              <a:gd name="connsiteX10" fmla="*/ 1545433 w 1728788"/>
              <a:gd name="connsiteY10" fmla="*/ 3743325 h 3743325"/>
              <a:gd name="connsiteX11" fmla="*/ 183355 w 1728788"/>
              <a:gd name="connsiteY11" fmla="*/ 3743325 h 3743325"/>
              <a:gd name="connsiteX12" fmla="*/ 0 w 1728788"/>
              <a:gd name="connsiteY12" fmla="*/ 3559970 h 3743325"/>
              <a:gd name="connsiteX13" fmla="*/ 0 w 1728788"/>
              <a:gd name="connsiteY13" fmla="*/ 183355 h 3743325"/>
              <a:gd name="connsiteX14" fmla="*/ 183355 w 1728788"/>
              <a:gd name="connsiteY14"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8788" h="3743325">
                <a:moveTo>
                  <a:pt x="183355" y="0"/>
                </a:moveTo>
                <a:lnTo>
                  <a:pt x="385762" y="0"/>
                </a:lnTo>
                <a:lnTo>
                  <a:pt x="385762" y="42066"/>
                </a:lnTo>
                <a:cubicBezTo>
                  <a:pt x="385762" y="95111"/>
                  <a:pt x="428763" y="138112"/>
                  <a:pt x="481808" y="138112"/>
                </a:cubicBezTo>
                <a:lnTo>
                  <a:pt x="1251741" y="138112"/>
                </a:lnTo>
                <a:cubicBezTo>
                  <a:pt x="1304786" y="138112"/>
                  <a:pt x="1347787" y="95111"/>
                  <a:pt x="1347787" y="42066"/>
                </a:cubicBezTo>
                <a:lnTo>
                  <a:pt x="1347787" y="0"/>
                </a:lnTo>
                <a:lnTo>
                  <a:pt x="1545433" y="0"/>
                </a:lnTo>
                <a:cubicBezTo>
                  <a:pt x="1646697" y="0"/>
                  <a:pt x="1728788" y="82091"/>
                  <a:pt x="1728788" y="183355"/>
                </a:cubicBezTo>
                <a:lnTo>
                  <a:pt x="1728788" y="3559970"/>
                </a:lnTo>
                <a:cubicBezTo>
                  <a:pt x="1728788" y="3661234"/>
                  <a:pt x="1646697" y="3743325"/>
                  <a:pt x="1545433" y="3743325"/>
                </a:cubicBezTo>
                <a:lnTo>
                  <a:pt x="183355" y="3743325"/>
                </a:lnTo>
                <a:cubicBezTo>
                  <a:pt x="82091" y="3743325"/>
                  <a:pt x="0" y="3661234"/>
                  <a:pt x="0" y="3559970"/>
                </a:cubicBezTo>
                <a:lnTo>
                  <a:pt x="0" y="183355"/>
                </a:lnTo>
                <a:cubicBezTo>
                  <a:pt x="0" y="82091"/>
                  <a:pt x="82091" y="0"/>
                  <a:pt x="183355" y="0"/>
                </a:cubicBezTo>
                <a:close/>
              </a:path>
            </a:pathLst>
          </a:custGeom>
          <a:pattFill prst="dkUpDiag">
            <a:fgClr>
              <a:schemeClr val="bg1">
                <a:lumMod val="75000"/>
              </a:schemeClr>
            </a:fgClr>
            <a:bgClr>
              <a:schemeClr val="bg1">
                <a:lumMod val="95000"/>
              </a:schemeClr>
            </a:bgClr>
          </a:pattFill>
        </p:spPr>
        <p:txBody>
          <a:bodyPr wrap="square" tIns="180000">
            <a:noAutofit/>
          </a:bodyPr>
          <a:lstStyle>
            <a:lvl1pPr>
              <a:defRPr lang="nl-NL" sz="1600"/>
            </a:lvl1pPr>
          </a:lstStyle>
          <a:p>
            <a:pPr marL="0" lvl="0" indent="0" algn="ctr">
              <a:buNone/>
            </a:pPr>
            <a:r>
              <a:rPr lang="nl-NL" noProof="0"/>
              <a:t>Klik op het icoon om een </a:t>
            </a:r>
            <a:br>
              <a:rPr lang="nl-NL" noProof="0"/>
            </a:br>
            <a:r>
              <a:rPr lang="nl-NL" noProof="0"/>
              <a:t>afbeelding te plaatsen</a:t>
            </a:r>
          </a:p>
        </p:txBody>
      </p:sp>
      <p:sp>
        <p:nvSpPr>
          <p:cNvPr id="10" name="Title 1">
            <a:extLst>
              <a:ext uri="{FF2B5EF4-FFF2-40B4-BE49-F238E27FC236}">
                <a16:creationId xmlns:a16="http://schemas.microsoft.com/office/drawing/2014/main" id="{F1282BC2-5110-CA44-8B22-969ED36BA8F6}"/>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11" name="Text Placeholder 3">
            <a:extLst>
              <a:ext uri="{FF2B5EF4-FFF2-40B4-BE49-F238E27FC236}">
                <a16:creationId xmlns:a16="http://schemas.microsoft.com/office/drawing/2014/main" id="{8DBB8563-24CC-0C4D-A70B-BC71CEEE1A54}"/>
              </a:ext>
            </a:extLst>
          </p:cNvPr>
          <p:cNvSpPr>
            <a:spLocks noGrp="1"/>
          </p:cNvSpPr>
          <p:nvPr>
            <p:ph type="body" sz="quarter" idx="10" hasCustomPrompt="1"/>
          </p:nvPr>
        </p:nvSpPr>
        <p:spPr>
          <a:xfrm>
            <a:off x="579438" y="5928735"/>
            <a:ext cx="7248698"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12" name="Text Placeholder 5">
            <a:extLst>
              <a:ext uri="{FF2B5EF4-FFF2-40B4-BE49-F238E27FC236}">
                <a16:creationId xmlns:a16="http://schemas.microsoft.com/office/drawing/2014/main" id="{15E6A5AD-1B61-7E49-BEFA-0B91AC1C837D}"/>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
        <p:nvSpPr>
          <p:cNvPr id="13" name="Tijdelijke aanduiding voor tekst 11">
            <a:extLst>
              <a:ext uri="{FF2B5EF4-FFF2-40B4-BE49-F238E27FC236}">
                <a16:creationId xmlns:a16="http://schemas.microsoft.com/office/drawing/2014/main" id="{C3855572-0397-3040-B2CA-7796DB29F913}"/>
              </a:ext>
            </a:extLst>
          </p:cNvPr>
          <p:cNvSpPr>
            <a:spLocks noGrp="1"/>
          </p:cNvSpPr>
          <p:nvPr>
            <p:ph type="body" sz="quarter" idx="13" hasCustomPrompt="1"/>
          </p:nvPr>
        </p:nvSpPr>
        <p:spPr>
          <a:xfrm>
            <a:off x="579439" y="1944546"/>
            <a:ext cx="7080712" cy="3709685"/>
          </a:xfrm>
          <a:prstGeom prst="rect">
            <a:avLst/>
          </a:prstGeom>
        </p:spPr>
        <p:txBody>
          <a:bodyPr lIns="0" tIns="0" rIns="0" bIns="0"/>
          <a:lstStyle>
            <a:lvl1pPr marL="266700" indent="-266700">
              <a:buClr>
                <a:schemeClr val="accent5"/>
              </a:buClr>
              <a:defRPr sz="2000">
                <a:solidFill>
                  <a:schemeClr val="tx1"/>
                </a:solidFill>
              </a:defRPr>
            </a:lvl1pPr>
            <a:lvl2pPr marL="625475" indent="-266700">
              <a:buClr>
                <a:schemeClr val="accent5"/>
              </a:buClr>
              <a:buFont typeface="Calibri" panose="020F0502020204030204" pitchFamily="34" charset="0"/>
              <a:buChar char="-"/>
              <a:defRPr sz="1800">
                <a:solidFill>
                  <a:schemeClr val="tx1"/>
                </a:solidFill>
              </a:defRPr>
            </a:lvl2pPr>
            <a:lvl3pPr marL="890588" indent="-265113">
              <a:buClr>
                <a:schemeClr val="accent5"/>
              </a:buClr>
              <a:buFont typeface="Wingdings" panose="05000000000000000000" pitchFamily="2" charset="2"/>
              <a:buChar char="§"/>
              <a:defRPr sz="1600">
                <a:solidFill>
                  <a:schemeClr val="tx1">
                    <a:lumMod val="50000"/>
                    <a:lumOff val="50000"/>
                  </a:schemeClr>
                </a:solidFill>
              </a:defRPr>
            </a:lvl3pPr>
          </a:lstStyle>
          <a:p>
            <a:pPr lvl="0"/>
            <a:r>
              <a:rPr lang="nl-NL" noProof="0"/>
              <a:t>Plaats tekst</a:t>
            </a:r>
          </a:p>
          <a:p>
            <a:pPr lvl="1"/>
            <a:r>
              <a:rPr lang="nl-NL" noProof="0"/>
              <a:t>Tweede niveau</a:t>
            </a:r>
          </a:p>
          <a:p>
            <a:pPr lvl="2"/>
            <a:r>
              <a:rPr lang="nl-NL" noProof="0"/>
              <a:t>Derde niveau</a:t>
            </a:r>
          </a:p>
        </p:txBody>
      </p:sp>
      <p:pic>
        <p:nvPicPr>
          <p:cNvPr id="15" name="Рисунок 3">
            <a:extLst>
              <a:ext uri="{FF2B5EF4-FFF2-40B4-BE49-F238E27FC236}">
                <a16:creationId xmlns:a16="http://schemas.microsoft.com/office/drawing/2014/main" id="{911BFC52-0694-3D43-810C-BDE07076A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19379" y="1546168"/>
            <a:ext cx="4531850" cy="5461461"/>
          </a:xfrm>
          <a:prstGeom prst="rect">
            <a:avLst/>
          </a:prstGeom>
        </p:spPr>
      </p:pic>
    </p:spTree>
    <p:extLst>
      <p:ext uri="{BB962C8B-B14F-4D97-AF65-F5344CB8AC3E}">
        <p14:creationId xmlns:p14="http://schemas.microsoft.com/office/powerpoint/2010/main" val="208223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ogo slide">
    <p:spTree>
      <p:nvGrpSpPr>
        <p:cNvPr id="1" name=""/>
        <p:cNvGrpSpPr/>
        <p:nvPr/>
      </p:nvGrpSpPr>
      <p:grpSpPr>
        <a:xfrm>
          <a:off x="0" y="0"/>
          <a:ext cx="0" cy="0"/>
          <a:chOff x="0" y="0"/>
          <a:chExt cx="0" cy="0"/>
        </a:xfrm>
      </p:grpSpPr>
      <p:pic>
        <p:nvPicPr>
          <p:cNvPr id="9" name="Afbeelding 8" descr="Afbeelding met tekst, illustratie&#10;&#10;Automatisch gegenereerde beschrijving">
            <a:extLst>
              <a:ext uri="{FF2B5EF4-FFF2-40B4-BE49-F238E27FC236}">
                <a16:creationId xmlns:a16="http://schemas.microsoft.com/office/drawing/2014/main" id="{6C23EB9D-C2CE-8B40-93F4-7C59740860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9400" y="1739900"/>
            <a:ext cx="9093200" cy="1689100"/>
          </a:xfrm>
          <a:prstGeom prst="rect">
            <a:avLst/>
          </a:prstGeom>
        </p:spPr>
      </p:pic>
      <p:sp>
        <p:nvSpPr>
          <p:cNvPr id="3" name="Vrije vorm 2">
            <a:extLst>
              <a:ext uri="{FF2B5EF4-FFF2-40B4-BE49-F238E27FC236}">
                <a16:creationId xmlns:a16="http://schemas.microsoft.com/office/drawing/2014/main" id="{4517F798-B072-EA47-B2EC-F3B8986A8B5F}"/>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descr="Afbeelding met pijl&#10;&#10;Automatisch gegenereerde beschrijving">
            <a:extLst>
              <a:ext uri="{FF2B5EF4-FFF2-40B4-BE49-F238E27FC236}">
                <a16:creationId xmlns:a16="http://schemas.microsoft.com/office/drawing/2014/main" id="{409FDA1D-7CE6-194C-8168-B33433157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8630" y="5591896"/>
            <a:ext cx="993482" cy="748323"/>
          </a:xfrm>
          <a:prstGeom prst="rect">
            <a:avLst/>
          </a:prstGeom>
        </p:spPr>
      </p:pic>
      <p:pic>
        <p:nvPicPr>
          <p:cNvPr id="5" name="Afbeelding 4">
            <a:extLst>
              <a:ext uri="{FF2B5EF4-FFF2-40B4-BE49-F238E27FC236}">
                <a16:creationId xmlns:a16="http://schemas.microsoft.com/office/drawing/2014/main" id="{31B589FE-699F-B249-8109-800785CDB2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7447" y="5649321"/>
            <a:ext cx="7003828" cy="772352"/>
          </a:xfrm>
          <a:prstGeom prst="rect">
            <a:avLst/>
          </a:prstGeom>
        </p:spPr>
      </p:pic>
    </p:spTree>
    <p:extLst>
      <p:ext uri="{BB962C8B-B14F-4D97-AF65-F5344CB8AC3E}">
        <p14:creationId xmlns:p14="http://schemas.microsoft.com/office/powerpoint/2010/main" val="397810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ogo slide animeer">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C0CAAE-E220-5E49-91FB-EA35D75DA48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descr="Afbeelding met tekst, illustratie&#10;&#10;Automatisch gegenereerde beschrijving">
            <a:extLst>
              <a:ext uri="{FF2B5EF4-FFF2-40B4-BE49-F238E27FC236}">
                <a16:creationId xmlns:a16="http://schemas.microsoft.com/office/drawing/2014/main" id="{8C961D3E-0031-194C-9BD6-CDB533ED0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9400" y="2584450"/>
            <a:ext cx="9093200" cy="1689100"/>
          </a:xfrm>
          <a:prstGeom prst="rect">
            <a:avLst/>
          </a:prstGeom>
        </p:spPr>
      </p:pic>
    </p:spTree>
    <p:extLst>
      <p:ext uri="{BB962C8B-B14F-4D97-AF65-F5344CB8AC3E}">
        <p14:creationId xmlns:p14="http://schemas.microsoft.com/office/powerpoint/2010/main" val="368119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Openings slide">
    <p:spTree>
      <p:nvGrpSpPr>
        <p:cNvPr id="1" name=""/>
        <p:cNvGrpSpPr/>
        <p:nvPr/>
      </p:nvGrpSpPr>
      <p:grpSpPr>
        <a:xfrm>
          <a:off x="0" y="0"/>
          <a:ext cx="0" cy="0"/>
          <a:chOff x="0" y="0"/>
          <a:chExt cx="0" cy="0"/>
        </a:xfrm>
      </p:grpSpPr>
      <p:pic>
        <p:nvPicPr>
          <p:cNvPr id="9" name="Afbeelding 8" descr="Afbeelding met tekst, illustratie&#10;&#10;Automatisch gegenereerde beschrijving">
            <a:extLst>
              <a:ext uri="{FF2B5EF4-FFF2-40B4-BE49-F238E27FC236}">
                <a16:creationId xmlns:a16="http://schemas.microsoft.com/office/drawing/2014/main" id="{6C23EB9D-C2CE-8B40-93F4-7C59740860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5574" y="1158961"/>
            <a:ext cx="7285383" cy="1353291"/>
          </a:xfrm>
          <a:prstGeom prst="rect">
            <a:avLst/>
          </a:prstGeom>
        </p:spPr>
      </p:pic>
      <p:sp>
        <p:nvSpPr>
          <p:cNvPr id="3" name="Vrije vorm 2">
            <a:extLst>
              <a:ext uri="{FF2B5EF4-FFF2-40B4-BE49-F238E27FC236}">
                <a16:creationId xmlns:a16="http://schemas.microsoft.com/office/drawing/2014/main" id="{4517F798-B072-EA47-B2EC-F3B8986A8B5F}"/>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Inria Sans" pitchFamily="50" charset="0"/>
            </a:endParaRPr>
          </a:p>
        </p:txBody>
      </p:sp>
      <p:pic>
        <p:nvPicPr>
          <p:cNvPr id="4" name="Afbeelding 3" descr="Afbeelding met pijl&#10;&#10;Automatisch gegenereerde beschrijving">
            <a:extLst>
              <a:ext uri="{FF2B5EF4-FFF2-40B4-BE49-F238E27FC236}">
                <a16:creationId xmlns:a16="http://schemas.microsoft.com/office/drawing/2014/main" id="{409FDA1D-7CE6-194C-8168-B33433157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8630" y="5591896"/>
            <a:ext cx="993482" cy="748323"/>
          </a:xfrm>
          <a:prstGeom prst="rect">
            <a:avLst/>
          </a:prstGeom>
        </p:spPr>
      </p:pic>
      <p:pic>
        <p:nvPicPr>
          <p:cNvPr id="8" name="Afbeelding 7">
            <a:extLst>
              <a:ext uri="{FF2B5EF4-FFF2-40B4-BE49-F238E27FC236}">
                <a16:creationId xmlns:a16="http://schemas.microsoft.com/office/drawing/2014/main" id="{5519A0A0-DA14-C248-A8AF-BD7C1CBFE28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7447" y="5649321"/>
            <a:ext cx="7003828" cy="772352"/>
          </a:xfrm>
          <a:prstGeom prst="rect">
            <a:avLst/>
          </a:prstGeom>
        </p:spPr>
      </p:pic>
      <p:sp>
        <p:nvSpPr>
          <p:cNvPr id="2" name="Tekstvak 1">
            <a:extLst>
              <a:ext uri="{FF2B5EF4-FFF2-40B4-BE49-F238E27FC236}">
                <a16:creationId xmlns:a16="http://schemas.microsoft.com/office/drawing/2014/main" id="{D9E52E41-DA46-9A4A-9069-E874EC39E936}"/>
              </a:ext>
            </a:extLst>
          </p:cNvPr>
          <p:cNvSpPr txBox="1"/>
          <p:nvPr userDrawn="1"/>
        </p:nvSpPr>
        <p:spPr>
          <a:xfrm>
            <a:off x="0" y="2839875"/>
            <a:ext cx="12192000" cy="461665"/>
          </a:xfrm>
          <a:prstGeom prst="rect">
            <a:avLst/>
          </a:prstGeom>
          <a:noFill/>
        </p:spPr>
        <p:txBody>
          <a:bodyPr wrap="square" rtlCol="0">
            <a:spAutoFit/>
          </a:bodyPr>
          <a:lstStyle/>
          <a:p>
            <a:pPr algn="ctr"/>
            <a:r>
              <a:rPr lang="nl-NL" sz="2400">
                <a:latin typeface="Inria Sans" pitchFamily="50" charset="0"/>
              </a:rPr>
              <a:t>voor</a:t>
            </a:r>
          </a:p>
        </p:txBody>
      </p:sp>
      <p:sp>
        <p:nvSpPr>
          <p:cNvPr id="11" name="Tijdelijke aanduiding voor tekst 10">
            <a:extLst>
              <a:ext uri="{FF2B5EF4-FFF2-40B4-BE49-F238E27FC236}">
                <a16:creationId xmlns:a16="http://schemas.microsoft.com/office/drawing/2014/main" id="{E9968602-1927-FF43-B0AA-1E4D1035502E}"/>
              </a:ext>
            </a:extLst>
          </p:cNvPr>
          <p:cNvSpPr>
            <a:spLocks noGrp="1"/>
          </p:cNvSpPr>
          <p:nvPr>
            <p:ph type="body" sz="quarter" idx="11"/>
          </p:nvPr>
        </p:nvSpPr>
        <p:spPr>
          <a:xfrm>
            <a:off x="0" y="3649930"/>
            <a:ext cx="12192000" cy="1651000"/>
          </a:xfrm>
          <a:prstGeom prst="rect">
            <a:avLst/>
          </a:prstGeom>
        </p:spPr>
        <p:txBody>
          <a:bodyPr/>
          <a:lstStyle>
            <a:lvl1pPr marL="0" indent="0" algn="ctr">
              <a:buFont typeface="Arial" panose="020B0604020202020204" pitchFamily="34" charset="0"/>
              <a:buNone/>
              <a:defRPr sz="4000" b="1">
                <a:latin typeface="Inria Sans" pitchFamily="50"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nl-NL"/>
              <a:t>Klikken om de tekststijl van het model te bewerken</a:t>
            </a:r>
          </a:p>
        </p:txBody>
      </p:sp>
    </p:spTree>
    <p:extLst>
      <p:ext uri="{BB962C8B-B14F-4D97-AF65-F5344CB8AC3E}">
        <p14:creationId xmlns:p14="http://schemas.microsoft.com/office/powerpoint/2010/main" val="344958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slide GRIJS">
    <p:spTree>
      <p:nvGrpSpPr>
        <p:cNvPr id="1" name=""/>
        <p:cNvGrpSpPr/>
        <p:nvPr/>
      </p:nvGrpSpPr>
      <p:grpSpPr>
        <a:xfrm>
          <a:off x="0" y="0"/>
          <a:ext cx="0" cy="0"/>
          <a:chOff x="0" y="0"/>
          <a:chExt cx="0" cy="0"/>
        </a:xfrm>
      </p:grpSpPr>
      <p:sp>
        <p:nvSpPr>
          <p:cNvPr id="30" name="Tijdelijke aanduiding voor afbeelding 21">
            <a:extLst>
              <a:ext uri="{FF2B5EF4-FFF2-40B4-BE49-F238E27FC236}">
                <a16:creationId xmlns:a16="http://schemas.microsoft.com/office/drawing/2014/main" id="{A0041067-CB44-1345-B100-78245A7CC945}"/>
              </a:ext>
            </a:extLst>
          </p:cNvPr>
          <p:cNvSpPr>
            <a:spLocks noGrp="1"/>
          </p:cNvSpPr>
          <p:nvPr>
            <p:ph type="pic" sz="quarter" idx="12" hasCustomPrompt="1"/>
          </p:nvPr>
        </p:nvSpPr>
        <p:spPr>
          <a:xfrm>
            <a:off x="0" y="9525"/>
            <a:ext cx="12192000" cy="5111112"/>
          </a:xfrm>
          <a:prstGeom prst="rect">
            <a:avLst/>
          </a:prstGeom>
          <a:solidFill>
            <a:schemeClr val="bg1">
              <a:lumMod val="85000"/>
            </a:schemeClr>
          </a:solid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0" y="4405744"/>
            <a:ext cx="12191999" cy="709693"/>
          </a:xfrm>
          <a:prstGeom prst="rect">
            <a:avLst/>
          </a:prstGeom>
          <a:solidFill>
            <a:srgbClr val="FFFFFF">
              <a:alpha val="50196"/>
            </a:srgbClr>
          </a:solidFill>
        </p:spPr>
        <p:txBody>
          <a:bodyPr lIns="1260000" tIns="0" rIns="540000" bIns="72000" anchor="b" anchorCtr="0"/>
          <a:lstStyle>
            <a:lvl1pPr>
              <a:defRPr sz="3600">
                <a:solidFill>
                  <a:schemeClr val="tx1"/>
                </a:solidFill>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6158162"/>
            <a:ext cx="3708862" cy="304800"/>
          </a:xfrm>
          <a:prstGeom prst="rect">
            <a:avLst/>
          </a:prstGeom>
        </p:spPr>
        <p:txBody>
          <a:bodyPr lIns="0"/>
          <a:lstStyle>
            <a:lvl1pPr marL="0" indent="0">
              <a:lnSpc>
                <a:spcPct val="100000"/>
              </a:lnSpc>
              <a:spcBef>
                <a:spcPts val="0"/>
              </a:spcBef>
              <a:buNone/>
              <a:defRPr sz="800" i="0">
                <a:solidFill>
                  <a:schemeClr val="tx1">
                    <a:lumMod val="50000"/>
                    <a:lumOff val="50000"/>
                  </a:schemeClr>
                </a:solidFill>
              </a:defRPr>
            </a:lvl1pPr>
            <a:lvl2pPr marL="457200" indent="0">
              <a:lnSpc>
                <a:spcPct val="100000"/>
              </a:lnSpc>
              <a:spcBef>
                <a:spcPts val="0"/>
              </a:spcBef>
              <a:buNone/>
              <a:defRPr sz="800" i="0">
                <a:solidFill>
                  <a:schemeClr val="tx1">
                    <a:lumMod val="50000"/>
                    <a:lumOff val="50000"/>
                  </a:schemeClr>
                </a:solidFill>
              </a:defRPr>
            </a:lvl2pPr>
            <a:lvl3pPr marL="914400" indent="0">
              <a:buNone/>
              <a:defRPr sz="800" i="1"/>
            </a:lvl3pPr>
            <a:lvl4pPr marL="1371600" indent="0">
              <a:buNone/>
              <a:defRPr sz="800" i="1"/>
            </a:lvl4pPr>
            <a:lvl5pPr marL="1828800" indent="0">
              <a:buNone/>
              <a:defRPr sz="800" i="1"/>
            </a:lvl5pPr>
          </a:lstStyle>
          <a:p>
            <a:pPr lvl="0"/>
            <a:r>
              <a:rPr lang="nl-NL" noProof="0"/>
              <a:t>Stad, Land, Datum, jaar</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5316401"/>
            <a:ext cx="4293504" cy="798650"/>
          </a:xfrm>
          <a:prstGeom prst="rect">
            <a:avLst/>
          </a:prstGeom>
        </p:spPr>
        <p:txBody>
          <a:bodyPr lIns="0"/>
          <a:lstStyle>
            <a:lvl1pPr marL="0" indent="0">
              <a:buNone/>
              <a:defRPr sz="1600" b="1">
                <a:solidFill>
                  <a:schemeClr val="accent5"/>
                </a:solidFill>
              </a:defRPr>
            </a:lvl1pPr>
            <a:lvl2pPr marL="0" indent="0">
              <a:buNone/>
              <a:defRPr sz="1400">
                <a:solidFill>
                  <a:schemeClr val="tx1">
                    <a:lumMod val="50000"/>
                    <a:lumOff val="50000"/>
                  </a:schemeClr>
                </a:solidFill>
              </a:defRPr>
            </a:lvl2pPr>
          </a:lstStyle>
          <a:p>
            <a:pPr lvl="0"/>
            <a:r>
              <a:rPr lang="nl-NL" noProof="0"/>
              <a:t>Naam Spreker</a:t>
            </a:r>
          </a:p>
          <a:p>
            <a:pPr lvl="1"/>
            <a:r>
              <a:rPr lang="nl-NL" noProof="0"/>
              <a:t>Afdeling of Titel</a:t>
            </a:r>
          </a:p>
        </p:txBody>
      </p:sp>
      <p:cxnSp>
        <p:nvCxnSpPr>
          <p:cNvPr id="21" name="Straight Connector 20">
            <a:extLst>
              <a:ext uri="{FF2B5EF4-FFF2-40B4-BE49-F238E27FC236}">
                <a16:creationId xmlns:a16="http://schemas.microsoft.com/office/drawing/2014/main" id="{2E8B53E1-5DC7-4C35-B2BA-60925D467EB3}"/>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7991F7-D0E6-4A14-8EA5-6C2D31CA5ABF}"/>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B5CE97-262B-45D3-8CD8-A64B8AA9743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1EB6FA-8FB1-41BF-8856-FD57F0F73099}"/>
              </a:ext>
            </a:extLst>
          </p:cNvPr>
          <p:cNvSpPr txBox="1"/>
          <p:nvPr userDrawn="1"/>
        </p:nvSpPr>
        <p:spPr>
          <a:xfrm>
            <a:off x="12289355" y="3278868"/>
            <a:ext cx="3831818" cy="1338828"/>
          </a:xfrm>
          <a:prstGeom prst="rect">
            <a:avLst/>
          </a:prstGeom>
          <a:noFill/>
        </p:spPr>
        <p:txBody>
          <a:bodyPr wrap="none" rtlCol="0">
            <a:spAutoFit/>
          </a:bodyPr>
          <a:lstStyle/>
          <a:p>
            <a:r>
              <a:rPr lang="nl-NL" sz="900" noProof="0">
                <a:solidFill>
                  <a:schemeClr val="tx1"/>
                </a:solidFill>
              </a:rPr>
              <a:t>Fotografie</a:t>
            </a:r>
            <a:r>
              <a:rPr lang="nl-NL" sz="900">
                <a:solidFill>
                  <a:schemeClr val="tx1"/>
                </a:solidFill>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 het icoon in het centrum van het grijze vlak</a:t>
            </a:r>
            <a:r>
              <a:rPr lang="nl-NL" sz="900" b="0" kern="1200">
                <a:solidFill>
                  <a:schemeClr val="tx1"/>
                </a:solidFill>
                <a:latin typeface="+mn-lt"/>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de afbeelding te wijzigen of bij te snijden: ga naar Format&gt; Crop.</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een afbeelding weg te gooien, klik het aan en druk op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back space op je toetsenbord.</a:t>
            </a:r>
          </a:p>
        </p:txBody>
      </p:sp>
      <p:sp>
        <p:nvSpPr>
          <p:cNvPr id="26" name="TextBox 25">
            <a:extLst>
              <a:ext uri="{FF2B5EF4-FFF2-40B4-BE49-F238E27FC236}">
                <a16:creationId xmlns:a16="http://schemas.microsoft.com/office/drawing/2014/main" id="{527D3E67-30D3-402F-9C51-EF05D5C6B8E0}"/>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rPr>
              <a:t>Heb je een andere </a:t>
            </a:r>
            <a:r>
              <a:rPr lang="nl-NL" sz="900" noProof="0" err="1">
                <a:solidFill>
                  <a:schemeClr val="tx1">
                    <a:lumMod val="50000"/>
                    <a:lumOff val="50000"/>
                  </a:schemeClr>
                </a:solidFill>
              </a:rPr>
              <a:t>layout</a:t>
            </a:r>
            <a:r>
              <a:rPr lang="nl-NL" sz="900" noProof="0">
                <a:solidFill>
                  <a:schemeClr val="tx1">
                    <a:lumMod val="50000"/>
                    <a:lumOff val="50000"/>
                  </a:schemeClr>
                </a:solidFill>
              </a:rPr>
              <a:t> nodig?</a:t>
            </a:r>
            <a:br>
              <a:rPr lang="nl-NL" sz="900" noProof="0">
                <a:solidFill>
                  <a:schemeClr val="tx1">
                    <a:lumMod val="50000"/>
                    <a:lumOff val="50000"/>
                  </a:schemeClr>
                </a:solidFill>
              </a:rPr>
            </a:br>
            <a:r>
              <a:rPr lang="nl-NL" sz="900" noProof="0">
                <a:solidFill>
                  <a:schemeClr val="tx1">
                    <a:lumMod val="50000"/>
                    <a:lumOff val="50000"/>
                  </a:schemeClr>
                </a:solidFill>
              </a:rPr>
              <a:t>Klik op Home tab &gt; Indeling.</a:t>
            </a:r>
          </a:p>
          <a:p>
            <a:r>
              <a:rPr lang="nl-NL" sz="900" noProof="0">
                <a:solidFill>
                  <a:schemeClr val="tx1">
                    <a:lumMod val="50000"/>
                    <a:lumOff val="50000"/>
                  </a:schemeClr>
                </a:solidFill>
              </a:rPr>
              <a:t>Hier kun je alle dia’s vinden die </a:t>
            </a:r>
            <a:br>
              <a:rPr lang="nl-NL" sz="900" noProof="0">
                <a:solidFill>
                  <a:schemeClr val="tx1">
                    <a:lumMod val="50000"/>
                    <a:lumOff val="50000"/>
                  </a:schemeClr>
                </a:solidFill>
              </a:rPr>
            </a:br>
            <a:r>
              <a:rPr lang="nl-NL" sz="900" noProof="0">
                <a:solidFill>
                  <a:schemeClr val="tx1">
                    <a:lumMod val="50000"/>
                    <a:lumOff val="50000"/>
                  </a:schemeClr>
                </a:solidFill>
              </a:rPr>
              <a:t>zich in deze template bevinden.</a:t>
            </a:r>
          </a:p>
          <a:p>
            <a:endParaRPr lang="nl-NL" sz="900" noProof="0">
              <a:solidFill>
                <a:schemeClr val="tx1">
                  <a:lumMod val="50000"/>
                  <a:lumOff val="50000"/>
                </a:schemeClr>
              </a:solidFill>
            </a:endParaRPr>
          </a:p>
          <a:p>
            <a:r>
              <a:rPr lang="nl-NL" sz="900" noProof="0">
                <a:solidFill>
                  <a:schemeClr val="tx1">
                    <a:lumMod val="50000"/>
                    <a:lumOff val="50000"/>
                  </a:schemeClr>
                </a:solidFill>
              </a:rPr>
              <a:t>Volgt je dia niet meer de template of</a:t>
            </a:r>
            <a:br>
              <a:rPr lang="nl-NL" sz="900" noProof="0">
                <a:solidFill>
                  <a:schemeClr val="tx1">
                    <a:lumMod val="50000"/>
                    <a:lumOff val="50000"/>
                  </a:schemeClr>
                </a:solidFill>
              </a:rPr>
            </a:br>
            <a:r>
              <a:rPr lang="nl-NL" sz="900" noProof="0">
                <a:solidFill>
                  <a:schemeClr val="tx1">
                    <a:lumMod val="50000"/>
                    <a:lumOff val="50000"/>
                  </a:schemeClr>
                </a:solidFill>
              </a:rPr>
              <a:t>staan </a:t>
            </a:r>
            <a:r>
              <a:rPr lang="nl-NL" sz="900" noProof="0" err="1">
                <a:solidFill>
                  <a:schemeClr val="tx1">
                    <a:lumMod val="50000"/>
                    <a:lumOff val="50000"/>
                  </a:schemeClr>
                </a:solidFill>
              </a:rPr>
              <a:t>bullets</a:t>
            </a:r>
            <a:r>
              <a:rPr lang="nl-NL" sz="900" noProof="0">
                <a:solidFill>
                  <a:schemeClr val="tx1">
                    <a:lumMod val="50000"/>
                    <a:lumOff val="50000"/>
                  </a:schemeClr>
                </a:solidFill>
              </a:rPr>
              <a:t> en titels scheef t.o.v. de </a:t>
            </a:r>
            <a:br>
              <a:rPr lang="nl-NL" sz="900" noProof="0">
                <a:solidFill>
                  <a:schemeClr val="tx1">
                    <a:lumMod val="50000"/>
                    <a:lumOff val="50000"/>
                  </a:schemeClr>
                </a:solidFill>
              </a:rPr>
            </a:br>
            <a:r>
              <a:rPr lang="nl-NL" sz="900" noProof="0">
                <a:solidFill>
                  <a:schemeClr val="tx1">
                    <a:lumMod val="50000"/>
                    <a:lumOff val="50000"/>
                  </a:schemeClr>
                </a:solidFill>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Ga naar de mini’s aan de linkerkant.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Rechtermuis klik: dia herstellen.</a:t>
            </a:r>
          </a:p>
        </p:txBody>
      </p:sp>
      <p:sp>
        <p:nvSpPr>
          <p:cNvPr id="27" name="TextBox 26">
            <a:extLst>
              <a:ext uri="{FF2B5EF4-FFF2-40B4-BE49-F238E27FC236}">
                <a16:creationId xmlns:a16="http://schemas.microsoft.com/office/drawing/2014/main" id="{20BA87FF-BE4B-4691-A917-7610BDDB1696}"/>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endParaRPr lang="nl-NL" sz="900" b="1" kern="1200" noProof="0">
              <a:solidFill>
                <a:schemeClr val="tx1"/>
              </a:solidFill>
              <a:latin typeface="+mn-lt"/>
              <a:ea typeface="+mn-ea"/>
              <a:cs typeface="+mn-cs"/>
            </a:endParaRPr>
          </a:p>
          <a:p>
            <a:endParaRPr lang="nl-NL" sz="900" b="1" noProof="0"/>
          </a:p>
          <a:p>
            <a:r>
              <a:rPr lang="nl-NL" sz="900" noProof="0">
                <a:solidFill>
                  <a:schemeClr val="tx1">
                    <a:lumMod val="50000"/>
                    <a:lumOff val="50000"/>
                  </a:schemeClr>
                </a:solidFill>
              </a:rPr>
              <a:t>Deze variaties van het </a:t>
            </a:r>
            <a:r>
              <a:rPr lang="nl-NL" sz="900" noProof="0" err="1">
                <a:solidFill>
                  <a:schemeClr val="tx1">
                    <a:lumMod val="50000"/>
                    <a:lumOff val="50000"/>
                  </a:schemeClr>
                </a:solidFill>
              </a:rPr>
              <a:t>Arial</a:t>
            </a:r>
            <a:r>
              <a:rPr lang="nl-NL" sz="900" noProof="0">
                <a:solidFill>
                  <a:schemeClr val="tx1">
                    <a:lumMod val="50000"/>
                    <a:lumOff val="50000"/>
                  </a:schemeClr>
                </a:solidFill>
              </a:rPr>
              <a:t> font </a:t>
            </a:r>
            <a:br>
              <a:rPr lang="nl-NL" sz="900" noProof="0">
                <a:solidFill>
                  <a:schemeClr val="tx1">
                    <a:lumMod val="50000"/>
                    <a:lumOff val="50000"/>
                  </a:schemeClr>
                </a:solidFill>
              </a:rPr>
            </a:br>
            <a:r>
              <a:rPr lang="nl-NL" sz="900" noProof="0">
                <a:solidFill>
                  <a:schemeClr val="tx1">
                    <a:lumMod val="50000"/>
                    <a:lumOff val="50000"/>
                  </a:schemeClr>
                </a:solidFill>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Regular</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Bold</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Italic</a:t>
            </a:r>
          </a:p>
        </p:txBody>
      </p:sp>
      <p:pic>
        <p:nvPicPr>
          <p:cNvPr id="32" name="Afbeelding 31" descr="Afbeelding met tekst, illustratie&#10;&#10;Automatisch gegenereerde beschrijving">
            <a:extLst>
              <a:ext uri="{FF2B5EF4-FFF2-40B4-BE49-F238E27FC236}">
                <a16:creationId xmlns:a16="http://schemas.microsoft.com/office/drawing/2014/main" id="{2747E136-7A90-714E-82BC-8D8FA1A16A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1745" y="5860434"/>
            <a:ext cx="2512753" cy="466754"/>
          </a:xfrm>
          <a:prstGeom prst="rect">
            <a:avLst/>
          </a:prstGeom>
        </p:spPr>
      </p:pic>
      <p:pic>
        <p:nvPicPr>
          <p:cNvPr id="16" name="Afbeelding 15">
            <a:extLst>
              <a:ext uri="{FF2B5EF4-FFF2-40B4-BE49-F238E27FC236}">
                <a16:creationId xmlns:a16="http://schemas.microsoft.com/office/drawing/2014/main" id="{D0E29784-BFFD-8540-BE59-646E8AF67E2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155" y="4312050"/>
            <a:ext cx="941875" cy="709451"/>
          </a:xfrm>
          <a:prstGeom prst="rect">
            <a:avLst/>
          </a:prstGeom>
        </p:spPr>
      </p:pic>
    </p:spTree>
    <p:extLst>
      <p:ext uri="{BB962C8B-B14F-4D97-AF65-F5344CB8AC3E}">
        <p14:creationId xmlns:p14="http://schemas.microsoft.com/office/powerpoint/2010/main" val="159921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750"/>
                                        <p:tgtEl>
                                          <p:spTgt spid="6">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75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uiExpand="1" build="p">
        <p:tmplLst>
          <p:tmpl lvl="1">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 lvl="2">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slide GEEL">
    <p:spTree>
      <p:nvGrpSpPr>
        <p:cNvPr id="1" name=""/>
        <p:cNvGrpSpPr/>
        <p:nvPr/>
      </p:nvGrpSpPr>
      <p:grpSpPr>
        <a:xfrm>
          <a:off x="0" y="0"/>
          <a:ext cx="0" cy="0"/>
          <a:chOff x="0" y="0"/>
          <a:chExt cx="0" cy="0"/>
        </a:xfrm>
      </p:grpSpPr>
      <p:sp>
        <p:nvSpPr>
          <p:cNvPr id="30" name="Tijdelijke aanduiding voor afbeelding 21">
            <a:extLst>
              <a:ext uri="{FF2B5EF4-FFF2-40B4-BE49-F238E27FC236}">
                <a16:creationId xmlns:a16="http://schemas.microsoft.com/office/drawing/2014/main" id="{A0041067-CB44-1345-B100-78245A7CC945}"/>
              </a:ext>
            </a:extLst>
          </p:cNvPr>
          <p:cNvSpPr>
            <a:spLocks noGrp="1"/>
          </p:cNvSpPr>
          <p:nvPr>
            <p:ph type="pic" sz="quarter" idx="12" hasCustomPrompt="1"/>
          </p:nvPr>
        </p:nvSpPr>
        <p:spPr>
          <a:xfrm>
            <a:off x="0" y="-1"/>
            <a:ext cx="12192000" cy="5120637"/>
          </a:xfrm>
          <a:prstGeom prst="rect">
            <a:avLst/>
          </a:prstGeom>
          <a:solidFill>
            <a:schemeClr val="accent5"/>
          </a:solid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0" y="4405744"/>
            <a:ext cx="12191999" cy="709693"/>
          </a:xfrm>
          <a:prstGeom prst="rect">
            <a:avLst/>
          </a:prstGeom>
          <a:solidFill>
            <a:srgbClr val="FFFFFF">
              <a:alpha val="50196"/>
            </a:srgbClr>
          </a:solidFill>
        </p:spPr>
        <p:txBody>
          <a:bodyPr lIns="1260000" tIns="0" rIns="540000" bIns="72000" anchor="b" anchorCtr="0"/>
          <a:lstStyle>
            <a:lvl1pPr>
              <a:defRPr sz="3600">
                <a:solidFill>
                  <a:schemeClr val="tx1"/>
                </a:solidFill>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6158162"/>
            <a:ext cx="3708862" cy="304800"/>
          </a:xfrm>
          <a:prstGeom prst="rect">
            <a:avLst/>
          </a:prstGeom>
        </p:spPr>
        <p:txBody>
          <a:bodyPr lIns="0"/>
          <a:lstStyle>
            <a:lvl1pPr marL="0" indent="0">
              <a:lnSpc>
                <a:spcPct val="100000"/>
              </a:lnSpc>
              <a:spcBef>
                <a:spcPts val="0"/>
              </a:spcBef>
              <a:buNone/>
              <a:defRPr sz="800" i="0">
                <a:solidFill>
                  <a:schemeClr val="tx1">
                    <a:lumMod val="50000"/>
                    <a:lumOff val="50000"/>
                  </a:schemeClr>
                </a:solidFill>
              </a:defRPr>
            </a:lvl1pPr>
            <a:lvl2pPr marL="457200" indent="0">
              <a:lnSpc>
                <a:spcPct val="100000"/>
              </a:lnSpc>
              <a:spcBef>
                <a:spcPts val="0"/>
              </a:spcBef>
              <a:buNone/>
              <a:defRPr sz="800" i="0">
                <a:solidFill>
                  <a:schemeClr val="tx1">
                    <a:lumMod val="50000"/>
                    <a:lumOff val="50000"/>
                  </a:schemeClr>
                </a:solidFill>
              </a:defRPr>
            </a:lvl2pPr>
            <a:lvl3pPr marL="914400" indent="0">
              <a:buNone/>
              <a:defRPr sz="800" i="1"/>
            </a:lvl3pPr>
            <a:lvl4pPr marL="1371600" indent="0">
              <a:buNone/>
              <a:defRPr sz="800" i="1"/>
            </a:lvl4pPr>
            <a:lvl5pPr marL="1828800" indent="0">
              <a:buNone/>
              <a:defRPr sz="800" i="1"/>
            </a:lvl5pPr>
          </a:lstStyle>
          <a:p>
            <a:pPr lvl="0"/>
            <a:r>
              <a:rPr lang="nl-NL" noProof="0"/>
              <a:t>Stad, Land, Datum, jaar</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5316401"/>
            <a:ext cx="4293504" cy="798650"/>
          </a:xfrm>
          <a:prstGeom prst="rect">
            <a:avLst/>
          </a:prstGeom>
        </p:spPr>
        <p:txBody>
          <a:bodyPr lIns="0"/>
          <a:lstStyle>
            <a:lvl1pPr marL="0" indent="0">
              <a:buNone/>
              <a:defRPr sz="1600" b="1">
                <a:solidFill>
                  <a:schemeClr val="accent5"/>
                </a:solidFill>
              </a:defRPr>
            </a:lvl1pPr>
            <a:lvl2pPr marL="0" indent="0">
              <a:buNone/>
              <a:defRPr sz="1400">
                <a:solidFill>
                  <a:schemeClr val="tx1">
                    <a:lumMod val="50000"/>
                    <a:lumOff val="50000"/>
                  </a:schemeClr>
                </a:solidFill>
              </a:defRPr>
            </a:lvl2pPr>
          </a:lstStyle>
          <a:p>
            <a:pPr lvl="0"/>
            <a:r>
              <a:rPr lang="nl-NL" noProof="0"/>
              <a:t>Naam Spreker</a:t>
            </a:r>
          </a:p>
          <a:p>
            <a:pPr lvl="1"/>
            <a:r>
              <a:rPr lang="nl-NL" noProof="0"/>
              <a:t>Afdeling of Titel</a:t>
            </a:r>
          </a:p>
        </p:txBody>
      </p:sp>
      <p:cxnSp>
        <p:nvCxnSpPr>
          <p:cNvPr id="21" name="Straight Connector 20">
            <a:extLst>
              <a:ext uri="{FF2B5EF4-FFF2-40B4-BE49-F238E27FC236}">
                <a16:creationId xmlns:a16="http://schemas.microsoft.com/office/drawing/2014/main" id="{2E8B53E1-5DC7-4C35-B2BA-60925D467EB3}"/>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7991F7-D0E6-4A14-8EA5-6C2D31CA5ABF}"/>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B5CE97-262B-45D3-8CD8-A64B8AA9743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1EB6FA-8FB1-41BF-8856-FD57F0F73099}"/>
              </a:ext>
            </a:extLst>
          </p:cNvPr>
          <p:cNvSpPr txBox="1"/>
          <p:nvPr userDrawn="1"/>
        </p:nvSpPr>
        <p:spPr>
          <a:xfrm>
            <a:off x="12289355" y="3278868"/>
            <a:ext cx="3831818" cy="1338828"/>
          </a:xfrm>
          <a:prstGeom prst="rect">
            <a:avLst/>
          </a:prstGeom>
          <a:noFill/>
        </p:spPr>
        <p:txBody>
          <a:bodyPr wrap="none" rtlCol="0">
            <a:spAutoFit/>
          </a:bodyPr>
          <a:lstStyle/>
          <a:p>
            <a:r>
              <a:rPr lang="nl-NL" sz="900" noProof="0">
                <a:solidFill>
                  <a:schemeClr val="tx1"/>
                </a:solidFill>
              </a:rPr>
              <a:t>Fotografie</a:t>
            </a:r>
            <a:r>
              <a:rPr lang="nl-NL" sz="900">
                <a:solidFill>
                  <a:schemeClr val="tx1"/>
                </a:solidFill>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 het icoon in het centrum van het grijze vlak</a:t>
            </a:r>
            <a:r>
              <a:rPr lang="nl-NL" sz="900" b="0" kern="1200">
                <a:solidFill>
                  <a:schemeClr val="tx1"/>
                </a:solidFill>
                <a:latin typeface="+mn-lt"/>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de afbeelding te wijzigen of bij te snijden: ga naar Format&gt; Crop.</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een afbeelding weg te gooien, klik het aan en druk op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back space op je toetsenbord.</a:t>
            </a:r>
          </a:p>
        </p:txBody>
      </p:sp>
      <p:sp>
        <p:nvSpPr>
          <p:cNvPr id="26" name="TextBox 25">
            <a:extLst>
              <a:ext uri="{FF2B5EF4-FFF2-40B4-BE49-F238E27FC236}">
                <a16:creationId xmlns:a16="http://schemas.microsoft.com/office/drawing/2014/main" id="{527D3E67-30D3-402F-9C51-EF05D5C6B8E0}"/>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rPr>
              <a:t>Heb je een andere </a:t>
            </a:r>
            <a:r>
              <a:rPr lang="nl-NL" sz="900" noProof="0" err="1">
                <a:solidFill>
                  <a:schemeClr val="tx1">
                    <a:lumMod val="50000"/>
                    <a:lumOff val="50000"/>
                  </a:schemeClr>
                </a:solidFill>
              </a:rPr>
              <a:t>layout</a:t>
            </a:r>
            <a:r>
              <a:rPr lang="nl-NL" sz="900" noProof="0">
                <a:solidFill>
                  <a:schemeClr val="tx1">
                    <a:lumMod val="50000"/>
                    <a:lumOff val="50000"/>
                  </a:schemeClr>
                </a:solidFill>
              </a:rPr>
              <a:t> nodig?</a:t>
            </a:r>
            <a:br>
              <a:rPr lang="nl-NL" sz="900" noProof="0">
                <a:solidFill>
                  <a:schemeClr val="tx1">
                    <a:lumMod val="50000"/>
                    <a:lumOff val="50000"/>
                  </a:schemeClr>
                </a:solidFill>
              </a:rPr>
            </a:br>
            <a:r>
              <a:rPr lang="nl-NL" sz="900" noProof="0">
                <a:solidFill>
                  <a:schemeClr val="tx1">
                    <a:lumMod val="50000"/>
                    <a:lumOff val="50000"/>
                  </a:schemeClr>
                </a:solidFill>
              </a:rPr>
              <a:t>Klik op Home tab &gt; Indeling.</a:t>
            </a:r>
          </a:p>
          <a:p>
            <a:r>
              <a:rPr lang="nl-NL" sz="900" noProof="0">
                <a:solidFill>
                  <a:schemeClr val="tx1">
                    <a:lumMod val="50000"/>
                    <a:lumOff val="50000"/>
                  </a:schemeClr>
                </a:solidFill>
              </a:rPr>
              <a:t>Hier kun je alle dia’s vinden die </a:t>
            </a:r>
            <a:br>
              <a:rPr lang="nl-NL" sz="900" noProof="0">
                <a:solidFill>
                  <a:schemeClr val="tx1">
                    <a:lumMod val="50000"/>
                    <a:lumOff val="50000"/>
                  </a:schemeClr>
                </a:solidFill>
              </a:rPr>
            </a:br>
            <a:r>
              <a:rPr lang="nl-NL" sz="900" noProof="0">
                <a:solidFill>
                  <a:schemeClr val="tx1">
                    <a:lumMod val="50000"/>
                    <a:lumOff val="50000"/>
                  </a:schemeClr>
                </a:solidFill>
              </a:rPr>
              <a:t>zich in deze template bevinden.</a:t>
            </a:r>
          </a:p>
          <a:p>
            <a:endParaRPr lang="nl-NL" sz="900" noProof="0">
              <a:solidFill>
                <a:schemeClr val="tx1">
                  <a:lumMod val="50000"/>
                  <a:lumOff val="50000"/>
                </a:schemeClr>
              </a:solidFill>
            </a:endParaRPr>
          </a:p>
          <a:p>
            <a:r>
              <a:rPr lang="nl-NL" sz="900" noProof="0">
                <a:solidFill>
                  <a:schemeClr val="tx1">
                    <a:lumMod val="50000"/>
                    <a:lumOff val="50000"/>
                  </a:schemeClr>
                </a:solidFill>
              </a:rPr>
              <a:t>Volgt je dia niet meer de template of</a:t>
            </a:r>
            <a:br>
              <a:rPr lang="nl-NL" sz="900" noProof="0">
                <a:solidFill>
                  <a:schemeClr val="tx1">
                    <a:lumMod val="50000"/>
                    <a:lumOff val="50000"/>
                  </a:schemeClr>
                </a:solidFill>
              </a:rPr>
            </a:br>
            <a:r>
              <a:rPr lang="nl-NL" sz="900" noProof="0">
                <a:solidFill>
                  <a:schemeClr val="tx1">
                    <a:lumMod val="50000"/>
                    <a:lumOff val="50000"/>
                  </a:schemeClr>
                </a:solidFill>
              </a:rPr>
              <a:t>staan </a:t>
            </a:r>
            <a:r>
              <a:rPr lang="nl-NL" sz="900" noProof="0" err="1">
                <a:solidFill>
                  <a:schemeClr val="tx1">
                    <a:lumMod val="50000"/>
                    <a:lumOff val="50000"/>
                  </a:schemeClr>
                </a:solidFill>
              </a:rPr>
              <a:t>bullets</a:t>
            </a:r>
            <a:r>
              <a:rPr lang="nl-NL" sz="900" noProof="0">
                <a:solidFill>
                  <a:schemeClr val="tx1">
                    <a:lumMod val="50000"/>
                    <a:lumOff val="50000"/>
                  </a:schemeClr>
                </a:solidFill>
              </a:rPr>
              <a:t> en titels scheef t.o.v. de </a:t>
            </a:r>
            <a:br>
              <a:rPr lang="nl-NL" sz="900" noProof="0">
                <a:solidFill>
                  <a:schemeClr val="tx1">
                    <a:lumMod val="50000"/>
                    <a:lumOff val="50000"/>
                  </a:schemeClr>
                </a:solidFill>
              </a:rPr>
            </a:br>
            <a:r>
              <a:rPr lang="nl-NL" sz="900" noProof="0">
                <a:solidFill>
                  <a:schemeClr val="tx1">
                    <a:lumMod val="50000"/>
                    <a:lumOff val="50000"/>
                  </a:schemeClr>
                </a:solidFill>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Ga naar de mini’s aan de linkerkant.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Rechtermuis klik: dia herstellen.</a:t>
            </a:r>
          </a:p>
        </p:txBody>
      </p:sp>
      <p:sp>
        <p:nvSpPr>
          <p:cNvPr id="27" name="TextBox 26">
            <a:extLst>
              <a:ext uri="{FF2B5EF4-FFF2-40B4-BE49-F238E27FC236}">
                <a16:creationId xmlns:a16="http://schemas.microsoft.com/office/drawing/2014/main" id="{20BA87FF-BE4B-4691-A917-7610BDDB1696}"/>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endParaRPr lang="nl-NL" sz="900" b="1" kern="1200" noProof="0">
              <a:solidFill>
                <a:schemeClr val="tx1"/>
              </a:solidFill>
              <a:latin typeface="+mn-lt"/>
              <a:ea typeface="+mn-ea"/>
              <a:cs typeface="+mn-cs"/>
            </a:endParaRPr>
          </a:p>
          <a:p>
            <a:endParaRPr lang="nl-NL" sz="900" b="1" noProof="0"/>
          </a:p>
          <a:p>
            <a:r>
              <a:rPr lang="nl-NL" sz="900" noProof="0">
                <a:solidFill>
                  <a:schemeClr val="tx1">
                    <a:lumMod val="50000"/>
                    <a:lumOff val="50000"/>
                  </a:schemeClr>
                </a:solidFill>
              </a:rPr>
              <a:t>Deze variaties van het </a:t>
            </a:r>
            <a:r>
              <a:rPr lang="nl-NL" sz="900" noProof="0" err="1">
                <a:solidFill>
                  <a:schemeClr val="tx1">
                    <a:lumMod val="50000"/>
                    <a:lumOff val="50000"/>
                  </a:schemeClr>
                </a:solidFill>
              </a:rPr>
              <a:t>Arial</a:t>
            </a:r>
            <a:r>
              <a:rPr lang="nl-NL" sz="900" noProof="0">
                <a:solidFill>
                  <a:schemeClr val="tx1">
                    <a:lumMod val="50000"/>
                    <a:lumOff val="50000"/>
                  </a:schemeClr>
                </a:solidFill>
              </a:rPr>
              <a:t> font </a:t>
            </a:r>
            <a:br>
              <a:rPr lang="nl-NL" sz="900" noProof="0">
                <a:solidFill>
                  <a:schemeClr val="tx1">
                    <a:lumMod val="50000"/>
                    <a:lumOff val="50000"/>
                  </a:schemeClr>
                </a:solidFill>
              </a:rPr>
            </a:br>
            <a:r>
              <a:rPr lang="nl-NL" sz="900" noProof="0">
                <a:solidFill>
                  <a:schemeClr val="tx1">
                    <a:lumMod val="50000"/>
                    <a:lumOff val="50000"/>
                  </a:schemeClr>
                </a:solidFill>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Regular</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Bold</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Italic</a:t>
            </a:r>
          </a:p>
        </p:txBody>
      </p:sp>
      <p:pic>
        <p:nvPicPr>
          <p:cNvPr id="32" name="Afbeelding 31" descr="Afbeelding met tekst, illustratie&#10;&#10;Automatisch gegenereerde beschrijving">
            <a:extLst>
              <a:ext uri="{FF2B5EF4-FFF2-40B4-BE49-F238E27FC236}">
                <a16:creationId xmlns:a16="http://schemas.microsoft.com/office/drawing/2014/main" id="{2747E136-7A90-714E-82BC-8D8FA1A16A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1745" y="5860434"/>
            <a:ext cx="2512753" cy="466754"/>
          </a:xfrm>
          <a:prstGeom prst="rect">
            <a:avLst/>
          </a:prstGeom>
        </p:spPr>
      </p:pic>
      <p:pic>
        <p:nvPicPr>
          <p:cNvPr id="16" name="Afbeelding 15">
            <a:extLst>
              <a:ext uri="{FF2B5EF4-FFF2-40B4-BE49-F238E27FC236}">
                <a16:creationId xmlns:a16="http://schemas.microsoft.com/office/drawing/2014/main" id="{DFF38B30-48FF-7C48-B062-8E8002FFF9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6724" y="4317250"/>
            <a:ext cx="943306" cy="709693"/>
          </a:xfrm>
          <a:prstGeom prst="rect">
            <a:avLst/>
          </a:prstGeom>
        </p:spPr>
      </p:pic>
    </p:spTree>
    <p:extLst>
      <p:ext uri="{BB962C8B-B14F-4D97-AF65-F5344CB8AC3E}">
        <p14:creationId xmlns:p14="http://schemas.microsoft.com/office/powerpoint/2010/main" val="350411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750"/>
                                        <p:tgtEl>
                                          <p:spTgt spid="6">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75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uiExpand="1" build="p">
        <p:tmplLst>
          <p:tmpl lvl="1">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 lvl="2">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3 kolomme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350129" y="1477881"/>
            <a:ext cx="2700087"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38" name="Tijdelijke aanduiding voor tekst 37"/>
          <p:cNvSpPr>
            <a:spLocks noGrp="1"/>
          </p:cNvSpPr>
          <p:nvPr>
            <p:ph type="body" sz="quarter" idx="12" hasCustomPrompt="1"/>
          </p:nvPr>
        </p:nvSpPr>
        <p:spPr>
          <a:xfrm>
            <a:off x="1350137" y="1892887"/>
            <a:ext cx="270044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2" name="Tijdelijke aanduiding voor tekst 71"/>
          <p:cNvSpPr>
            <a:spLocks noGrp="1"/>
          </p:cNvSpPr>
          <p:nvPr>
            <p:ph type="body" sz="quarter" idx="37" hasCustomPrompt="1"/>
          </p:nvPr>
        </p:nvSpPr>
        <p:spPr>
          <a:xfrm>
            <a:off x="558081" y="1477881"/>
            <a:ext cx="688393" cy="757237"/>
          </a:xfrm>
          <a:prstGeom prst="rect">
            <a:avLst/>
          </a:prstGeom>
        </p:spPr>
        <p:txBody>
          <a:bodyPr lIns="0" tIns="0" rIns="0" bIns="0"/>
          <a:lstStyle>
            <a:lvl1pPr marL="0" indent="0" algn="ctr">
              <a:buNone/>
              <a:defRPr sz="3200" b="1">
                <a:solidFill>
                  <a:schemeClr val="tx1"/>
                </a:solidFill>
                <a:effectLst/>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1350129" y="2868418"/>
            <a:ext cx="2700087"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1350137" y="3255173"/>
            <a:ext cx="270044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558081" y="2868418"/>
            <a:ext cx="688393"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6" name="Tijdelijke aanduiding voor tekst 35"/>
          <p:cNvSpPr>
            <a:spLocks noGrp="1"/>
          </p:cNvSpPr>
          <p:nvPr>
            <p:ph type="body" sz="quarter" idx="41" hasCustomPrompt="1"/>
          </p:nvPr>
        </p:nvSpPr>
        <p:spPr>
          <a:xfrm>
            <a:off x="1350129" y="4258955"/>
            <a:ext cx="2700087"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1350137" y="4646200"/>
            <a:ext cx="270044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558081" y="4258955"/>
            <a:ext cx="688393"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9" name="Tijdelijke aanduiding voor tekst 35"/>
          <p:cNvSpPr>
            <a:spLocks noGrp="1"/>
          </p:cNvSpPr>
          <p:nvPr>
            <p:ph type="body" sz="quarter" idx="44" hasCustomPrompt="1"/>
          </p:nvPr>
        </p:nvSpPr>
        <p:spPr>
          <a:xfrm>
            <a:off x="5125715" y="1477881"/>
            <a:ext cx="2694951"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0" name="Tijdelijke aanduiding voor tekst 37"/>
          <p:cNvSpPr>
            <a:spLocks noGrp="1"/>
          </p:cNvSpPr>
          <p:nvPr>
            <p:ph type="body" sz="quarter" idx="45" hasCustomPrompt="1"/>
          </p:nvPr>
        </p:nvSpPr>
        <p:spPr>
          <a:xfrm>
            <a:off x="5125723" y="1892887"/>
            <a:ext cx="2695308"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1" name="Tijdelijke aanduiding voor tekst 71"/>
          <p:cNvSpPr>
            <a:spLocks noGrp="1"/>
          </p:cNvSpPr>
          <p:nvPr>
            <p:ph type="body" sz="quarter" idx="46" hasCustomPrompt="1"/>
          </p:nvPr>
        </p:nvSpPr>
        <p:spPr>
          <a:xfrm>
            <a:off x="4328531" y="1477881"/>
            <a:ext cx="688393"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2" name="Tijdelijke aanduiding voor tekst 35"/>
          <p:cNvSpPr>
            <a:spLocks noGrp="1"/>
          </p:cNvSpPr>
          <p:nvPr>
            <p:ph type="body" sz="quarter" idx="47" hasCustomPrompt="1"/>
          </p:nvPr>
        </p:nvSpPr>
        <p:spPr>
          <a:xfrm>
            <a:off x="5125715" y="2868418"/>
            <a:ext cx="2694951"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3" name="Tijdelijke aanduiding voor tekst 37"/>
          <p:cNvSpPr>
            <a:spLocks noGrp="1"/>
          </p:cNvSpPr>
          <p:nvPr>
            <p:ph type="body" sz="quarter" idx="48" hasCustomPrompt="1"/>
          </p:nvPr>
        </p:nvSpPr>
        <p:spPr>
          <a:xfrm>
            <a:off x="5125723" y="3255173"/>
            <a:ext cx="2695308"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4" name="Tijdelijke aanduiding voor tekst 71"/>
          <p:cNvSpPr>
            <a:spLocks noGrp="1"/>
          </p:cNvSpPr>
          <p:nvPr>
            <p:ph type="body" sz="quarter" idx="49" hasCustomPrompt="1"/>
          </p:nvPr>
        </p:nvSpPr>
        <p:spPr>
          <a:xfrm>
            <a:off x="4328531" y="2868418"/>
            <a:ext cx="688393"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5" name="Tijdelijke aanduiding voor tekst 35"/>
          <p:cNvSpPr>
            <a:spLocks noGrp="1"/>
          </p:cNvSpPr>
          <p:nvPr>
            <p:ph type="body" sz="quarter" idx="50" hasCustomPrompt="1"/>
          </p:nvPr>
        </p:nvSpPr>
        <p:spPr>
          <a:xfrm>
            <a:off x="5125715" y="4258955"/>
            <a:ext cx="2694951"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6" name="Tijdelijke aanduiding voor tekst 37"/>
          <p:cNvSpPr>
            <a:spLocks noGrp="1"/>
          </p:cNvSpPr>
          <p:nvPr>
            <p:ph type="body" sz="quarter" idx="51" hasCustomPrompt="1"/>
          </p:nvPr>
        </p:nvSpPr>
        <p:spPr>
          <a:xfrm>
            <a:off x="5125723" y="4646200"/>
            <a:ext cx="2695308"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7" name="Tijdelijke aanduiding voor tekst 71"/>
          <p:cNvSpPr>
            <a:spLocks noGrp="1"/>
          </p:cNvSpPr>
          <p:nvPr>
            <p:ph type="body" sz="quarter" idx="52" hasCustomPrompt="1"/>
          </p:nvPr>
        </p:nvSpPr>
        <p:spPr>
          <a:xfrm>
            <a:off x="4328531" y="4258955"/>
            <a:ext cx="688393"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8" name="Tijdelijke aanduiding voor tekst 35"/>
          <p:cNvSpPr>
            <a:spLocks noGrp="1"/>
          </p:cNvSpPr>
          <p:nvPr>
            <p:ph type="body" sz="quarter" idx="53" hasCustomPrompt="1"/>
          </p:nvPr>
        </p:nvSpPr>
        <p:spPr>
          <a:xfrm>
            <a:off x="8946748" y="1477881"/>
            <a:ext cx="2703856"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9" name="Tijdelijke aanduiding voor tekst 37"/>
          <p:cNvSpPr>
            <a:spLocks noGrp="1"/>
          </p:cNvSpPr>
          <p:nvPr>
            <p:ph type="body" sz="quarter" idx="54" hasCustomPrompt="1"/>
          </p:nvPr>
        </p:nvSpPr>
        <p:spPr>
          <a:xfrm>
            <a:off x="8946755" y="1892887"/>
            <a:ext cx="270421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91" name="Tijdelijke aanduiding voor tekst 35"/>
          <p:cNvSpPr>
            <a:spLocks noGrp="1"/>
          </p:cNvSpPr>
          <p:nvPr>
            <p:ph type="body" sz="quarter" idx="56" hasCustomPrompt="1"/>
          </p:nvPr>
        </p:nvSpPr>
        <p:spPr>
          <a:xfrm>
            <a:off x="8946748" y="2868418"/>
            <a:ext cx="2703856"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92" name="Tijdelijke aanduiding voor tekst 37"/>
          <p:cNvSpPr>
            <a:spLocks noGrp="1"/>
          </p:cNvSpPr>
          <p:nvPr>
            <p:ph type="body" sz="quarter" idx="57" hasCustomPrompt="1"/>
          </p:nvPr>
        </p:nvSpPr>
        <p:spPr>
          <a:xfrm>
            <a:off x="8946755" y="3255173"/>
            <a:ext cx="270421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3" name="Tijdelijke aanduiding voor tekst 71"/>
          <p:cNvSpPr>
            <a:spLocks noGrp="1"/>
          </p:cNvSpPr>
          <p:nvPr>
            <p:ph type="body" sz="quarter" idx="58" hasCustomPrompt="1"/>
          </p:nvPr>
        </p:nvSpPr>
        <p:spPr>
          <a:xfrm>
            <a:off x="8158469" y="2868418"/>
            <a:ext cx="678534"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94" name="Tijdelijke aanduiding voor tekst 35"/>
          <p:cNvSpPr>
            <a:spLocks noGrp="1"/>
          </p:cNvSpPr>
          <p:nvPr>
            <p:ph type="body" sz="quarter" idx="59" hasCustomPrompt="1"/>
          </p:nvPr>
        </p:nvSpPr>
        <p:spPr>
          <a:xfrm>
            <a:off x="8946748" y="4258955"/>
            <a:ext cx="2703856"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95" name="Tijdelijke aanduiding voor tekst 37"/>
          <p:cNvSpPr>
            <a:spLocks noGrp="1"/>
          </p:cNvSpPr>
          <p:nvPr>
            <p:ph type="body" sz="quarter" idx="60" hasCustomPrompt="1"/>
          </p:nvPr>
        </p:nvSpPr>
        <p:spPr>
          <a:xfrm>
            <a:off x="8946755" y="4646200"/>
            <a:ext cx="2704214" cy="380642"/>
          </a:xfrm>
          <a:prstGeom prst="rect">
            <a:avLst/>
          </a:prstGeom>
        </p:spPr>
        <p:txBody>
          <a:bodyPr tIns="7200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6" name="Tijdelijke aanduiding voor tekst 71"/>
          <p:cNvSpPr>
            <a:spLocks noGrp="1"/>
          </p:cNvSpPr>
          <p:nvPr>
            <p:ph type="body" sz="quarter" idx="61" hasCustomPrompt="1"/>
          </p:nvPr>
        </p:nvSpPr>
        <p:spPr>
          <a:xfrm>
            <a:off x="8158469" y="4258955"/>
            <a:ext cx="678534"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defRPr>
            </a:lvl1pPr>
          </a:lstStyle>
          <a:p>
            <a:r>
              <a:rPr lang="nl-NL" noProof="0"/>
              <a:t>Klik hier om een titel te plaatsen</a:t>
            </a:r>
          </a:p>
        </p:txBody>
      </p:sp>
      <p:cxnSp>
        <p:nvCxnSpPr>
          <p:cNvPr id="39" name="Straight Connector 59">
            <a:extLst>
              <a:ext uri="{FF2B5EF4-FFF2-40B4-BE49-F238E27FC236}">
                <a16:creationId xmlns:a16="http://schemas.microsoft.com/office/drawing/2014/main" id="{3B3D6B33-FA24-844C-B0B2-81B49D0AB67B}"/>
              </a:ext>
            </a:extLst>
          </p:cNvPr>
          <p:cNvCxnSpPr>
            <a:cxnSpLocks/>
          </p:cNvCxnSpPr>
          <p:nvPr userDrawn="1"/>
        </p:nvCxnSpPr>
        <p:spPr>
          <a:xfrm>
            <a:off x="4202388" y="1477881"/>
            <a:ext cx="0" cy="354896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59">
            <a:extLst>
              <a:ext uri="{FF2B5EF4-FFF2-40B4-BE49-F238E27FC236}">
                <a16:creationId xmlns:a16="http://schemas.microsoft.com/office/drawing/2014/main" id="{51BABC33-20D9-9940-9F5F-80DE148CAE07}"/>
              </a:ext>
            </a:extLst>
          </p:cNvPr>
          <p:cNvCxnSpPr>
            <a:cxnSpLocks/>
          </p:cNvCxnSpPr>
          <p:nvPr userDrawn="1"/>
        </p:nvCxnSpPr>
        <p:spPr>
          <a:xfrm>
            <a:off x="7972943" y="1477881"/>
            <a:ext cx="0" cy="354896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593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kolomme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588341" y="1498201"/>
            <a:ext cx="3394900"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cxnSp>
        <p:nvCxnSpPr>
          <p:cNvPr id="15" name="Straight Connector 59"/>
          <p:cNvCxnSpPr>
            <a:cxnSpLocks/>
          </p:cNvCxnSpPr>
          <p:nvPr userDrawn="1"/>
        </p:nvCxnSpPr>
        <p:spPr>
          <a:xfrm>
            <a:off x="6079237" y="1457561"/>
            <a:ext cx="16763" cy="357895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588255" y="1896933"/>
            <a:ext cx="3395350"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2588341" y="2888738"/>
            <a:ext cx="3394900"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2588255" y="3265333"/>
            <a:ext cx="3395350"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6" name="Tijdelijke aanduiding voor tekst 35"/>
          <p:cNvSpPr>
            <a:spLocks noGrp="1"/>
          </p:cNvSpPr>
          <p:nvPr>
            <p:ph type="body" sz="quarter" idx="41" hasCustomPrompt="1"/>
          </p:nvPr>
        </p:nvSpPr>
        <p:spPr>
          <a:xfrm>
            <a:off x="2588341" y="4279275"/>
            <a:ext cx="3394900"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2588255" y="4655870"/>
            <a:ext cx="3395350"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9" name="Tijdelijke aanduiding voor tekst 35"/>
          <p:cNvSpPr>
            <a:spLocks noGrp="1"/>
          </p:cNvSpPr>
          <p:nvPr>
            <p:ph type="body" sz="quarter" idx="44" hasCustomPrompt="1"/>
          </p:nvPr>
        </p:nvSpPr>
        <p:spPr>
          <a:xfrm>
            <a:off x="7173865" y="1498201"/>
            <a:ext cx="3376447"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0" name="Tijdelijke aanduiding voor tekst 37"/>
          <p:cNvSpPr>
            <a:spLocks noGrp="1"/>
          </p:cNvSpPr>
          <p:nvPr>
            <p:ph type="body" sz="quarter" idx="45" hasCustomPrompt="1"/>
          </p:nvPr>
        </p:nvSpPr>
        <p:spPr>
          <a:xfrm>
            <a:off x="7173911" y="1896933"/>
            <a:ext cx="3376894"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2" name="Tijdelijke aanduiding voor tekst 35"/>
          <p:cNvSpPr>
            <a:spLocks noGrp="1"/>
          </p:cNvSpPr>
          <p:nvPr>
            <p:ph type="body" sz="quarter" idx="47" hasCustomPrompt="1"/>
          </p:nvPr>
        </p:nvSpPr>
        <p:spPr>
          <a:xfrm>
            <a:off x="7173865" y="2888738"/>
            <a:ext cx="3376447"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3" name="Tijdelijke aanduiding voor tekst 37"/>
          <p:cNvSpPr>
            <a:spLocks noGrp="1"/>
          </p:cNvSpPr>
          <p:nvPr>
            <p:ph type="body" sz="quarter" idx="48" hasCustomPrompt="1"/>
          </p:nvPr>
        </p:nvSpPr>
        <p:spPr>
          <a:xfrm>
            <a:off x="7173911" y="3265333"/>
            <a:ext cx="3376894"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4" name="Tijdelijke aanduiding voor tekst 71"/>
          <p:cNvSpPr>
            <a:spLocks noGrp="1"/>
          </p:cNvSpPr>
          <p:nvPr>
            <p:ph type="body" sz="quarter" idx="49" hasCustomPrompt="1"/>
          </p:nvPr>
        </p:nvSpPr>
        <p:spPr>
          <a:xfrm>
            <a:off x="6261555" y="2868418"/>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5" name="Tijdelijke aanduiding voor tekst 35"/>
          <p:cNvSpPr>
            <a:spLocks noGrp="1"/>
          </p:cNvSpPr>
          <p:nvPr>
            <p:ph type="body" sz="quarter" idx="50" hasCustomPrompt="1"/>
          </p:nvPr>
        </p:nvSpPr>
        <p:spPr>
          <a:xfrm>
            <a:off x="7173865" y="4279275"/>
            <a:ext cx="3376447"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6" name="Tijdelijke aanduiding voor tekst 37"/>
          <p:cNvSpPr>
            <a:spLocks noGrp="1"/>
          </p:cNvSpPr>
          <p:nvPr>
            <p:ph type="body" sz="quarter" idx="51" hasCustomPrompt="1"/>
          </p:nvPr>
        </p:nvSpPr>
        <p:spPr>
          <a:xfrm>
            <a:off x="7173911" y="4655870"/>
            <a:ext cx="3376894"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7" name="Tijdelijke aanduiding voor tekst 71"/>
          <p:cNvSpPr>
            <a:spLocks noGrp="1"/>
          </p:cNvSpPr>
          <p:nvPr>
            <p:ph type="body" sz="quarter" idx="52" hasCustomPrompt="1"/>
          </p:nvPr>
        </p:nvSpPr>
        <p:spPr>
          <a:xfrm>
            <a:off x="6261555" y="4258955"/>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defRPr>
            </a:lvl1pPr>
          </a:lstStyle>
          <a:p>
            <a:r>
              <a:rPr lang="nl-NL" noProof="0"/>
              <a:t>Klik hier om een titel te plaatsen</a:t>
            </a:r>
          </a:p>
        </p:txBody>
      </p:sp>
    </p:spTree>
    <p:extLst>
      <p:ext uri="{BB962C8B-B14F-4D97-AF65-F5344CB8AC3E}">
        <p14:creationId xmlns:p14="http://schemas.microsoft.com/office/powerpoint/2010/main" val="202884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3 kolomme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350129" y="1477881"/>
            <a:ext cx="2700087"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350137" y="1892887"/>
            <a:ext cx="270044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558081" y="1477881"/>
            <a:ext cx="688393" cy="757237"/>
          </a:xfrm>
          <a:prstGeom prst="rect">
            <a:avLst/>
          </a:prstGeom>
        </p:spPr>
        <p:txBody>
          <a:bodyPr lIns="0" tIns="0" rIns="0" bIns="0"/>
          <a:lstStyle>
            <a:lvl1pPr marL="0" indent="0" algn="ctr">
              <a:buNone/>
              <a:defRPr sz="3200" b="1">
                <a:solidFill>
                  <a:schemeClr val="tx1"/>
                </a:solidFill>
                <a:effectLst/>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1350129" y="2868418"/>
            <a:ext cx="2700087"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1350137" y="3255173"/>
            <a:ext cx="270044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558081" y="2868418"/>
            <a:ext cx="688393"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6" name="Tijdelijke aanduiding voor tekst 35"/>
          <p:cNvSpPr>
            <a:spLocks noGrp="1"/>
          </p:cNvSpPr>
          <p:nvPr>
            <p:ph type="body" sz="quarter" idx="41" hasCustomPrompt="1"/>
          </p:nvPr>
        </p:nvSpPr>
        <p:spPr>
          <a:xfrm>
            <a:off x="1350129" y="4258955"/>
            <a:ext cx="2700087"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1350137" y="4646200"/>
            <a:ext cx="270044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558081" y="4258955"/>
            <a:ext cx="688393"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9" name="Tijdelijke aanduiding voor tekst 35"/>
          <p:cNvSpPr>
            <a:spLocks noGrp="1"/>
          </p:cNvSpPr>
          <p:nvPr>
            <p:ph type="body" sz="quarter" idx="44" hasCustomPrompt="1"/>
          </p:nvPr>
        </p:nvSpPr>
        <p:spPr>
          <a:xfrm>
            <a:off x="5125715" y="1477881"/>
            <a:ext cx="2694951"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0" name="Tijdelijke aanduiding voor tekst 37"/>
          <p:cNvSpPr>
            <a:spLocks noGrp="1"/>
          </p:cNvSpPr>
          <p:nvPr>
            <p:ph type="body" sz="quarter" idx="45" hasCustomPrompt="1"/>
          </p:nvPr>
        </p:nvSpPr>
        <p:spPr>
          <a:xfrm>
            <a:off x="5125723" y="1892887"/>
            <a:ext cx="2695308"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1" name="Tijdelijke aanduiding voor tekst 71"/>
          <p:cNvSpPr>
            <a:spLocks noGrp="1"/>
          </p:cNvSpPr>
          <p:nvPr>
            <p:ph type="body" sz="quarter" idx="46" hasCustomPrompt="1"/>
          </p:nvPr>
        </p:nvSpPr>
        <p:spPr>
          <a:xfrm>
            <a:off x="4328531" y="1477881"/>
            <a:ext cx="688393"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2" name="Tijdelijke aanduiding voor tekst 35"/>
          <p:cNvSpPr>
            <a:spLocks noGrp="1"/>
          </p:cNvSpPr>
          <p:nvPr>
            <p:ph type="body" sz="quarter" idx="47" hasCustomPrompt="1"/>
          </p:nvPr>
        </p:nvSpPr>
        <p:spPr>
          <a:xfrm>
            <a:off x="5125715" y="2868418"/>
            <a:ext cx="2694951"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3" name="Tijdelijke aanduiding voor tekst 37"/>
          <p:cNvSpPr>
            <a:spLocks noGrp="1"/>
          </p:cNvSpPr>
          <p:nvPr>
            <p:ph type="body" sz="quarter" idx="48" hasCustomPrompt="1"/>
          </p:nvPr>
        </p:nvSpPr>
        <p:spPr>
          <a:xfrm>
            <a:off x="5125723" y="3255173"/>
            <a:ext cx="2695308"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4" name="Tijdelijke aanduiding voor tekst 71"/>
          <p:cNvSpPr>
            <a:spLocks noGrp="1"/>
          </p:cNvSpPr>
          <p:nvPr>
            <p:ph type="body" sz="quarter" idx="49" hasCustomPrompt="1"/>
          </p:nvPr>
        </p:nvSpPr>
        <p:spPr>
          <a:xfrm>
            <a:off x="4328531" y="2868418"/>
            <a:ext cx="688393"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5" name="Tijdelijke aanduiding voor tekst 35"/>
          <p:cNvSpPr>
            <a:spLocks noGrp="1"/>
          </p:cNvSpPr>
          <p:nvPr>
            <p:ph type="body" sz="quarter" idx="50" hasCustomPrompt="1"/>
          </p:nvPr>
        </p:nvSpPr>
        <p:spPr>
          <a:xfrm>
            <a:off x="5125715" y="4258955"/>
            <a:ext cx="2694951"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6" name="Tijdelijke aanduiding voor tekst 37"/>
          <p:cNvSpPr>
            <a:spLocks noGrp="1"/>
          </p:cNvSpPr>
          <p:nvPr>
            <p:ph type="body" sz="quarter" idx="51" hasCustomPrompt="1"/>
          </p:nvPr>
        </p:nvSpPr>
        <p:spPr>
          <a:xfrm>
            <a:off x="5125723" y="4646200"/>
            <a:ext cx="2695308"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7" name="Tijdelijke aanduiding voor tekst 71"/>
          <p:cNvSpPr>
            <a:spLocks noGrp="1"/>
          </p:cNvSpPr>
          <p:nvPr>
            <p:ph type="body" sz="quarter" idx="52" hasCustomPrompt="1"/>
          </p:nvPr>
        </p:nvSpPr>
        <p:spPr>
          <a:xfrm>
            <a:off x="4328531" y="4258955"/>
            <a:ext cx="688393"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8" name="Tijdelijke aanduiding voor tekst 35"/>
          <p:cNvSpPr>
            <a:spLocks noGrp="1"/>
          </p:cNvSpPr>
          <p:nvPr>
            <p:ph type="body" sz="quarter" idx="53" hasCustomPrompt="1"/>
          </p:nvPr>
        </p:nvSpPr>
        <p:spPr>
          <a:xfrm>
            <a:off x="8946748" y="1477881"/>
            <a:ext cx="2703856"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9" name="Tijdelijke aanduiding voor tekst 37"/>
          <p:cNvSpPr>
            <a:spLocks noGrp="1"/>
          </p:cNvSpPr>
          <p:nvPr>
            <p:ph type="body" sz="quarter" idx="54" hasCustomPrompt="1"/>
          </p:nvPr>
        </p:nvSpPr>
        <p:spPr>
          <a:xfrm>
            <a:off x="8946755" y="1892887"/>
            <a:ext cx="270421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91" name="Tijdelijke aanduiding voor tekst 35"/>
          <p:cNvSpPr>
            <a:spLocks noGrp="1"/>
          </p:cNvSpPr>
          <p:nvPr>
            <p:ph type="body" sz="quarter" idx="56" hasCustomPrompt="1"/>
          </p:nvPr>
        </p:nvSpPr>
        <p:spPr>
          <a:xfrm>
            <a:off x="8946748" y="2868418"/>
            <a:ext cx="2703856" cy="37659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92" name="Tijdelijke aanduiding voor tekst 37"/>
          <p:cNvSpPr>
            <a:spLocks noGrp="1"/>
          </p:cNvSpPr>
          <p:nvPr>
            <p:ph type="body" sz="quarter" idx="57" hasCustomPrompt="1"/>
          </p:nvPr>
        </p:nvSpPr>
        <p:spPr>
          <a:xfrm>
            <a:off x="8946755" y="3255173"/>
            <a:ext cx="270421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3" name="Tijdelijke aanduiding voor tekst 71"/>
          <p:cNvSpPr>
            <a:spLocks noGrp="1"/>
          </p:cNvSpPr>
          <p:nvPr>
            <p:ph type="body" sz="quarter" idx="58" hasCustomPrompt="1"/>
          </p:nvPr>
        </p:nvSpPr>
        <p:spPr>
          <a:xfrm>
            <a:off x="8158469" y="2868418"/>
            <a:ext cx="678534"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94" name="Tijdelijke aanduiding voor tekst 35"/>
          <p:cNvSpPr>
            <a:spLocks noGrp="1"/>
          </p:cNvSpPr>
          <p:nvPr>
            <p:ph type="body" sz="quarter" idx="59" hasCustomPrompt="1"/>
          </p:nvPr>
        </p:nvSpPr>
        <p:spPr>
          <a:xfrm>
            <a:off x="8946748" y="4258955"/>
            <a:ext cx="2703856"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95" name="Tijdelijke aanduiding voor tekst 37"/>
          <p:cNvSpPr>
            <a:spLocks noGrp="1"/>
          </p:cNvSpPr>
          <p:nvPr>
            <p:ph type="body" sz="quarter" idx="60" hasCustomPrompt="1"/>
          </p:nvPr>
        </p:nvSpPr>
        <p:spPr>
          <a:xfrm>
            <a:off x="8946755" y="4646200"/>
            <a:ext cx="2704214" cy="380642"/>
          </a:xfrm>
          <a:prstGeom prst="rect">
            <a:avLst/>
          </a:prstGeom>
        </p:spPr>
        <p:txBody>
          <a:bodyPr tIns="7200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96" name="Tijdelijke aanduiding voor tekst 71"/>
          <p:cNvSpPr>
            <a:spLocks noGrp="1"/>
          </p:cNvSpPr>
          <p:nvPr>
            <p:ph type="body" sz="quarter" idx="61" hasCustomPrompt="1"/>
          </p:nvPr>
        </p:nvSpPr>
        <p:spPr>
          <a:xfrm>
            <a:off x="8158469" y="4258955"/>
            <a:ext cx="678534"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latin typeface="Inria Sans" pitchFamily="50" charset="0"/>
              </a:defRPr>
            </a:lvl1pPr>
          </a:lstStyle>
          <a:p>
            <a:r>
              <a:rPr lang="nl-NL" noProof="0"/>
              <a:t>Klik hier om een titel te plaatsen</a:t>
            </a:r>
          </a:p>
        </p:txBody>
      </p:sp>
    </p:spTree>
    <p:extLst>
      <p:ext uri="{BB962C8B-B14F-4D97-AF65-F5344CB8AC3E}">
        <p14:creationId xmlns:p14="http://schemas.microsoft.com/office/powerpoint/2010/main" val="20933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1 kolom">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588782" y="1498201"/>
            <a:ext cx="6364794"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38" name="Tijdelijke aanduiding voor tekst 37"/>
          <p:cNvSpPr>
            <a:spLocks noGrp="1"/>
          </p:cNvSpPr>
          <p:nvPr>
            <p:ph type="body" sz="quarter" idx="12" hasCustomPrompt="1"/>
          </p:nvPr>
        </p:nvSpPr>
        <p:spPr>
          <a:xfrm>
            <a:off x="2588682" y="1877251"/>
            <a:ext cx="6365637"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2588782" y="2888738"/>
            <a:ext cx="6364794"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2588682" y="3267788"/>
            <a:ext cx="6365637"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6" name="Tijdelijke aanduiding voor tekst 35"/>
          <p:cNvSpPr>
            <a:spLocks noGrp="1"/>
          </p:cNvSpPr>
          <p:nvPr>
            <p:ph type="body" sz="quarter" idx="41" hasCustomPrompt="1"/>
          </p:nvPr>
        </p:nvSpPr>
        <p:spPr>
          <a:xfrm>
            <a:off x="2588782" y="4279275"/>
            <a:ext cx="6364794"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2588682" y="4658325"/>
            <a:ext cx="6365637" cy="380642"/>
          </a:xfrm>
          <a:prstGeom prst="rect">
            <a:avLst/>
          </a:prstGeom>
        </p:spPr>
        <p:txBody>
          <a:bodyPr lIns="72000" tIns="7200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lgn="ctr">
              <a:buNone/>
              <a:defRPr sz="3200" b="1">
                <a:solidFill>
                  <a:schemeClr val="tx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defRPr>
            </a:lvl1pPr>
          </a:lstStyle>
          <a:p>
            <a:r>
              <a:rPr lang="nl-NL" noProof="0"/>
              <a:t>Klik hier om een titel te plaatsen</a:t>
            </a:r>
          </a:p>
        </p:txBody>
      </p:sp>
    </p:spTree>
    <p:extLst>
      <p:ext uri="{BB962C8B-B14F-4D97-AF65-F5344CB8AC3E}">
        <p14:creationId xmlns:p14="http://schemas.microsoft.com/office/powerpoint/2010/main" val="395794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met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79438" y="5932022"/>
            <a:ext cx="8018376"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3709685"/>
          </a:xfrm>
          <a:prstGeom prst="rect">
            <a:avLst/>
          </a:prstGeom>
        </p:spPr>
        <p:txBody>
          <a:bodyPr lIns="0" tIns="0" rIns="0" bIns="0"/>
          <a:lstStyle>
            <a:lvl1pPr marL="266700" indent="-266700">
              <a:buClr>
                <a:schemeClr val="accent5"/>
              </a:buClr>
              <a:defRPr sz="2000">
                <a:solidFill>
                  <a:schemeClr val="tx1"/>
                </a:solidFill>
              </a:defRPr>
            </a:lvl1pPr>
            <a:lvl2pPr marL="625475" indent="-266700">
              <a:buClr>
                <a:schemeClr val="accent5"/>
              </a:buClr>
              <a:buFont typeface="Calibri" panose="020F0502020204030204" pitchFamily="34" charset="0"/>
              <a:buChar char="-"/>
              <a:defRPr sz="1800">
                <a:solidFill>
                  <a:schemeClr val="tx1"/>
                </a:solidFill>
              </a:defRPr>
            </a:lvl2pPr>
            <a:lvl3pPr marL="890588" indent="-265113">
              <a:buClr>
                <a:schemeClr val="accent5"/>
              </a:buClr>
              <a:buFont typeface="Wingdings" panose="05000000000000000000" pitchFamily="2" charset="2"/>
              <a:buChar char="§"/>
              <a:defRPr sz="1600">
                <a:solidFill>
                  <a:schemeClr val="tx1">
                    <a:lumMod val="50000"/>
                    <a:lumOff val="50000"/>
                  </a:schemeClr>
                </a:solidFill>
              </a:defRPr>
            </a:lvl3pPr>
          </a:lstStyle>
          <a:p>
            <a:pPr lvl="0"/>
            <a:r>
              <a:rPr lang="nl-NL" noProof="0"/>
              <a:t>Plaats tekst</a:t>
            </a:r>
          </a:p>
          <a:p>
            <a:pPr lvl="1"/>
            <a:r>
              <a:rPr lang="nl-NL" noProof="0"/>
              <a:t>Tweede niveau</a:t>
            </a:r>
          </a:p>
          <a:p>
            <a:pPr lvl="2"/>
            <a:r>
              <a:rPr lang="nl-NL" noProof="0"/>
              <a:t>Derde niveau</a:t>
            </a:r>
          </a:p>
        </p:txBody>
      </p:sp>
    </p:spTree>
    <p:extLst>
      <p:ext uri="{BB962C8B-B14F-4D97-AF65-F5344CB8AC3E}">
        <p14:creationId xmlns:p14="http://schemas.microsoft.com/office/powerpoint/2010/main" val="41085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met sub en afbeelding">
    <p:spTree>
      <p:nvGrpSpPr>
        <p:cNvPr id="1" name=""/>
        <p:cNvGrpSpPr/>
        <p:nvPr/>
      </p:nvGrpSpPr>
      <p:grpSpPr>
        <a:xfrm>
          <a:off x="0" y="0"/>
          <a:ext cx="0" cy="0"/>
          <a:chOff x="0" y="0"/>
          <a:chExt cx="0" cy="0"/>
        </a:xfrm>
      </p:grpSpPr>
      <p:sp>
        <p:nvSpPr>
          <p:cNvPr id="10" name="Tijdelijke aanduiding voor afbeelding 21">
            <a:extLst>
              <a:ext uri="{FF2B5EF4-FFF2-40B4-BE49-F238E27FC236}">
                <a16:creationId xmlns:a16="http://schemas.microsoft.com/office/drawing/2014/main" id="{383CDE62-B4B1-084E-86AE-F285CA645076}"/>
              </a:ext>
            </a:extLst>
          </p:cNvPr>
          <p:cNvSpPr>
            <a:spLocks noGrp="1"/>
          </p:cNvSpPr>
          <p:nvPr>
            <p:ph type="pic" sz="quarter" idx="12" hasCustomPrompt="1"/>
          </p:nvPr>
        </p:nvSpPr>
        <p:spPr>
          <a:xfrm>
            <a:off x="8129846" y="-5430"/>
            <a:ext cx="4075779" cy="6285826"/>
          </a:xfrm>
          <a:custGeom>
            <a:avLst/>
            <a:gdLst>
              <a:gd name="connsiteX0" fmla="*/ 0 w 4062154"/>
              <a:gd name="connsiteY0" fmla="*/ 0 h 6857999"/>
              <a:gd name="connsiteX1" fmla="*/ 4062154 w 4062154"/>
              <a:gd name="connsiteY1" fmla="*/ 0 h 6857999"/>
              <a:gd name="connsiteX2" fmla="*/ 4062154 w 4062154"/>
              <a:gd name="connsiteY2" fmla="*/ 6857999 h 6857999"/>
              <a:gd name="connsiteX3" fmla="*/ 0 w 4062154"/>
              <a:gd name="connsiteY3" fmla="*/ 6857999 h 6857999"/>
              <a:gd name="connsiteX4" fmla="*/ 0 w 4062154"/>
              <a:gd name="connsiteY4" fmla="*/ 0 h 6857999"/>
              <a:gd name="connsiteX0" fmla="*/ 0 w 4062154"/>
              <a:gd name="connsiteY0" fmla="*/ 0 h 6857999"/>
              <a:gd name="connsiteX1" fmla="*/ 4062154 w 4062154"/>
              <a:gd name="connsiteY1" fmla="*/ 0 h 6857999"/>
              <a:gd name="connsiteX2" fmla="*/ 4062154 w 4062154"/>
              <a:gd name="connsiteY2" fmla="*/ 6857999 h 6857999"/>
              <a:gd name="connsiteX3" fmla="*/ 0 w 4062154"/>
              <a:gd name="connsiteY3" fmla="*/ 6195390 h 6857999"/>
              <a:gd name="connsiteX4" fmla="*/ 0 w 4062154"/>
              <a:gd name="connsiteY4" fmla="*/ 0 h 6857999"/>
              <a:gd name="connsiteX0" fmla="*/ 0 w 4062154"/>
              <a:gd name="connsiteY0" fmla="*/ 0 h 6195390"/>
              <a:gd name="connsiteX1" fmla="*/ 4062154 w 4062154"/>
              <a:gd name="connsiteY1" fmla="*/ 0 h 6195390"/>
              <a:gd name="connsiteX2" fmla="*/ 4048902 w 4062154"/>
              <a:gd name="connsiteY2" fmla="*/ 5493025 h 6195390"/>
              <a:gd name="connsiteX3" fmla="*/ 0 w 4062154"/>
              <a:gd name="connsiteY3" fmla="*/ 6195390 h 6195390"/>
              <a:gd name="connsiteX4" fmla="*/ 0 w 4062154"/>
              <a:gd name="connsiteY4" fmla="*/ 0 h 6195390"/>
              <a:gd name="connsiteX0" fmla="*/ 0 w 4075624"/>
              <a:gd name="connsiteY0" fmla="*/ 0 h 6195390"/>
              <a:gd name="connsiteX1" fmla="*/ 4062154 w 4075624"/>
              <a:gd name="connsiteY1" fmla="*/ 0 h 6195390"/>
              <a:gd name="connsiteX2" fmla="*/ 4075028 w 4075624"/>
              <a:gd name="connsiteY2" fmla="*/ 5980705 h 6195390"/>
              <a:gd name="connsiteX3" fmla="*/ 0 w 4075624"/>
              <a:gd name="connsiteY3" fmla="*/ 6195390 h 6195390"/>
              <a:gd name="connsiteX4" fmla="*/ 0 w 4075624"/>
              <a:gd name="connsiteY4" fmla="*/ 0 h 6195390"/>
              <a:gd name="connsiteX0" fmla="*/ 5024 w 4075624"/>
              <a:gd name="connsiteY0" fmla="*/ 0 h 6285825"/>
              <a:gd name="connsiteX1" fmla="*/ 4062154 w 4075624"/>
              <a:gd name="connsiteY1" fmla="*/ 90435 h 6285825"/>
              <a:gd name="connsiteX2" fmla="*/ 4075028 w 4075624"/>
              <a:gd name="connsiteY2" fmla="*/ 6071140 h 6285825"/>
              <a:gd name="connsiteX3" fmla="*/ 0 w 4075624"/>
              <a:gd name="connsiteY3" fmla="*/ 6285825 h 6285825"/>
              <a:gd name="connsiteX4" fmla="*/ 5024 w 4075624"/>
              <a:gd name="connsiteY4" fmla="*/ 0 h 6285825"/>
              <a:gd name="connsiteX0" fmla="*/ 5024 w 4075779"/>
              <a:gd name="connsiteY0" fmla="*/ 1 h 6285826"/>
              <a:gd name="connsiteX1" fmla="*/ 4067178 w 4075779"/>
              <a:gd name="connsiteY1" fmla="*/ 0 h 6285826"/>
              <a:gd name="connsiteX2" fmla="*/ 4075028 w 4075779"/>
              <a:gd name="connsiteY2" fmla="*/ 6071141 h 6285826"/>
              <a:gd name="connsiteX3" fmla="*/ 0 w 4075779"/>
              <a:gd name="connsiteY3" fmla="*/ 6285826 h 6285826"/>
              <a:gd name="connsiteX4" fmla="*/ 5024 w 4075779"/>
              <a:gd name="connsiteY4" fmla="*/ 1 h 6285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779" h="6285826">
                <a:moveTo>
                  <a:pt x="5024" y="1"/>
                </a:moveTo>
                <a:lnTo>
                  <a:pt x="4067178" y="0"/>
                </a:lnTo>
                <a:cubicBezTo>
                  <a:pt x="4062761" y="1831008"/>
                  <a:pt x="4079445" y="4240133"/>
                  <a:pt x="4075028" y="6071141"/>
                </a:cubicBezTo>
                <a:lnTo>
                  <a:pt x="0" y="6285826"/>
                </a:lnTo>
                <a:cubicBezTo>
                  <a:pt x="1675" y="4190551"/>
                  <a:pt x="3349" y="2095276"/>
                  <a:pt x="5024" y="1"/>
                </a:cubicBezTo>
                <a:close/>
              </a:path>
            </a:pathLst>
          </a:custGeom>
          <a:solidFill>
            <a:schemeClr val="bg1">
              <a:lumMod val="85000"/>
            </a:schemeClr>
          </a:solid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7325966"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75541" y="5925355"/>
            <a:ext cx="6816437"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7325966"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325966" cy="3709685"/>
          </a:xfrm>
          <a:prstGeom prst="rect">
            <a:avLst/>
          </a:prstGeom>
        </p:spPr>
        <p:txBody>
          <a:bodyPr lIns="0" tIns="0" rIns="0" bIns="0"/>
          <a:lstStyle>
            <a:lvl1pPr marL="266700" indent="-266700">
              <a:buClr>
                <a:schemeClr val="accent5"/>
              </a:buClr>
              <a:defRPr sz="2000">
                <a:solidFill>
                  <a:schemeClr val="tx1"/>
                </a:solidFill>
              </a:defRPr>
            </a:lvl1pPr>
            <a:lvl2pPr marL="625475" indent="-266700">
              <a:buClr>
                <a:schemeClr val="accent5"/>
              </a:buClr>
              <a:buFont typeface="Calibri" panose="020F0502020204030204" pitchFamily="34" charset="0"/>
              <a:buChar char="-"/>
              <a:defRPr sz="1800">
                <a:solidFill>
                  <a:schemeClr val="tx1"/>
                </a:solidFill>
              </a:defRPr>
            </a:lvl2pPr>
            <a:lvl3pPr marL="890588" indent="-265113">
              <a:buClr>
                <a:schemeClr val="accent5"/>
              </a:buClr>
              <a:buFont typeface="Wingdings" panose="05000000000000000000" pitchFamily="2" charset="2"/>
              <a:buChar char="§"/>
              <a:defRPr sz="1600">
                <a:solidFill>
                  <a:schemeClr val="tx1">
                    <a:lumMod val="50000"/>
                    <a:lumOff val="50000"/>
                  </a:schemeClr>
                </a:solidFill>
              </a:defRPr>
            </a:lvl3pPr>
          </a:lstStyle>
          <a:p>
            <a:pPr lvl="0"/>
            <a:r>
              <a:rPr lang="nl-NL" noProof="0"/>
              <a:t>Plaats tekst</a:t>
            </a:r>
          </a:p>
          <a:p>
            <a:pPr lvl="1"/>
            <a:r>
              <a:rPr lang="nl-NL" noProof="0"/>
              <a:t>Tweede niveau</a:t>
            </a:r>
          </a:p>
          <a:p>
            <a:pPr lvl="2"/>
            <a:r>
              <a:rPr lang="nl-NL" noProof="0"/>
              <a:t>Derde niveau</a:t>
            </a:r>
          </a:p>
        </p:txBody>
      </p:sp>
      <p:pic>
        <p:nvPicPr>
          <p:cNvPr id="8" name="Afbeelding 7" descr="Afbeelding met pijl&#10;&#10;Automatisch gegenereerde beschrijving">
            <a:extLst>
              <a:ext uri="{FF2B5EF4-FFF2-40B4-BE49-F238E27FC236}">
                <a16:creationId xmlns:a16="http://schemas.microsoft.com/office/drawing/2014/main" id="{8D36FC80-5D44-4C45-940A-6354B2E268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3" y="5783622"/>
            <a:ext cx="773940" cy="582957"/>
          </a:xfrm>
          <a:prstGeom prst="rect">
            <a:avLst/>
          </a:prstGeom>
        </p:spPr>
      </p:pic>
    </p:spTree>
    <p:extLst>
      <p:ext uri="{BB962C8B-B14F-4D97-AF65-F5344CB8AC3E}">
        <p14:creationId xmlns:p14="http://schemas.microsoft.com/office/powerpoint/2010/main" val="3531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E2B3E05-42A9-9C41-BEBF-7259464554C7}"/>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7" name="Text Placeholder 3">
            <a:extLst>
              <a:ext uri="{FF2B5EF4-FFF2-40B4-BE49-F238E27FC236}">
                <a16:creationId xmlns:a16="http://schemas.microsoft.com/office/drawing/2014/main" id="{9D37FDA9-9847-1843-A776-5E8EACE949CD}"/>
              </a:ext>
            </a:extLst>
          </p:cNvPr>
          <p:cNvSpPr>
            <a:spLocks noGrp="1"/>
          </p:cNvSpPr>
          <p:nvPr>
            <p:ph type="body" sz="quarter" idx="10" hasCustomPrompt="1"/>
          </p:nvPr>
        </p:nvSpPr>
        <p:spPr>
          <a:xfrm>
            <a:off x="579438" y="5932526"/>
            <a:ext cx="8018376"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8" name="Text Placeholder 5">
            <a:extLst>
              <a:ext uri="{FF2B5EF4-FFF2-40B4-BE49-F238E27FC236}">
                <a16:creationId xmlns:a16="http://schemas.microsoft.com/office/drawing/2014/main" id="{6A3DE235-009D-2C4A-B0BB-44FCA918DAAC}"/>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Tree>
    <p:extLst>
      <p:ext uri="{BB962C8B-B14F-4D97-AF65-F5344CB8AC3E}">
        <p14:creationId xmlns:p14="http://schemas.microsoft.com/office/powerpoint/2010/main" val="409705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e ben ik?">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12192000" cy="3429000"/>
          </a:xfrm>
          <a:prstGeom prst="rect">
            <a:avLst/>
          </a:prstGeom>
          <a:solidFill>
            <a:schemeClr val="accent5"/>
          </a:solidFill>
          <a:ln>
            <a:noFill/>
          </a:ln>
          <a:effectLst/>
        </p:spPr>
        <p:txBody>
          <a:bodyPr vert="horz" wrap="square" lIns="91440" tIns="45720" rIns="91440" bIns="45720" numCol="1" anchor="t" anchorCtr="0" compatLnSpc="1">
            <a:prstTxWarp prst="textNoShape">
              <a:avLst/>
            </a:prstTxWarp>
          </a:bodyPr>
          <a:lstStyle>
            <a:lvl1pPr>
              <a:defRPr lang="en-US" sz="100"/>
            </a:lvl1pPr>
          </a:lstStyle>
          <a:p>
            <a:pPr lvl="0"/>
            <a:endParaRPr lang="en-US"/>
          </a:p>
        </p:txBody>
      </p:sp>
      <p:sp>
        <p:nvSpPr>
          <p:cNvPr id="5" name="Title 1">
            <a:extLst>
              <a:ext uri="{FF2B5EF4-FFF2-40B4-BE49-F238E27FC236}">
                <a16:creationId xmlns:a16="http://schemas.microsoft.com/office/drawing/2014/main" id="{0CBF1CD6-3AAF-A043-B1A7-DE7470FAFE6E}"/>
              </a:ext>
            </a:extLst>
          </p:cNvPr>
          <p:cNvSpPr>
            <a:spLocks noGrp="1"/>
          </p:cNvSpPr>
          <p:nvPr>
            <p:ph type="title" hasCustomPrompt="1"/>
          </p:nvPr>
        </p:nvSpPr>
        <p:spPr>
          <a:xfrm>
            <a:off x="0" y="2719307"/>
            <a:ext cx="12191999" cy="709693"/>
          </a:xfrm>
          <a:prstGeom prst="rect">
            <a:avLst/>
          </a:prstGeom>
          <a:solidFill>
            <a:srgbClr val="FFFFFF">
              <a:alpha val="50196"/>
            </a:srgbClr>
          </a:solidFill>
        </p:spPr>
        <p:txBody>
          <a:bodyPr lIns="3600000" tIns="0" rIns="540000" bIns="72000" anchor="b" anchorCtr="0"/>
          <a:lstStyle>
            <a:lvl1pPr>
              <a:defRPr sz="3600">
                <a:solidFill>
                  <a:schemeClr val="tx1"/>
                </a:solidFill>
              </a:defRPr>
            </a:lvl1pPr>
          </a:lstStyle>
          <a:p>
            <a:r>
              <a:rPr lang="nl-NL" noProof="0"/>
              <a:t>Klik hier om een naam te plaatsen</a:t>
            </a:r>
          </a:p>
        </p:txBody>
      </p:sp>
      <p:sp>
        <p:nvSpPr>
          <p:cNvPr id="4" name="Freeform 5"/>
          <p:cNvSpPr>
            <a:spLocks noGrp="1"/>
          </p:cNvSpPr>
          <p:nvPr>
            <p:ph type="pic" sz="quarter" idx="10"/>
          </p:nvPr>
        </p:nvSpPr>
        <p:spPr bwMode="auto">
          <a:xfrm>
            <a:off x="889000" y="1965951"/>
            <a:ext cx="2336800" cy="2706932"/>
          </a:xfrm>
          <a:custGeom>
            <a:avLst/>
            <a:gdLst>
              <a:gd name="T0" fmla="*/ 7903 w 14000"/>
              <a:gd name="T1" fmla="*/ 8 h 16220"/>
              <a:gd name="T2" fmla="*/ 8865 w 14000"/>
              <a:gd name="T3" fmla="*/ 132 h 16220"/>
              <a:gd name="T4" fmla="*/ 9777 w 14000"/>
              <a:gd name="T5" fmla="*/ 393 h 16220"/>
              <a:gd name="T6" fmla="*/ 10630 w 14000"/>
              <a:gd name="T7" fmla="*/ 783 h 16220"/>
              <a:gd name="T8" fmla="*/ 11412 w 14000"/>
              <a:gd name="T9" fmla="*/ 1287 h 16220"/>
              <a:gd name="T10" fmla="*/ 12112 w 14000"/>
              <a:gd name="T11" fmla="*/ 1897 h 16220"/>
              <a:gd name="T12" fmla="*/ 12719 w 14000"/>
              <a:gd name="T13" fmla="*/ 2600 h 16220"/>
              <a:gd name="T14" fmla="*/ 13221 w 14000"/>
              <a:gd name="T15" fmla="*/ 3386 h 16220"/>
              <a:gd name="T16" fmla="*/ 13609 w 14000"/>
              <a:gd name="T17" fmla="*/ 4244 h 16220"/>
              <a:gd name="T18" fmla="*/ 13869 w 14000"/>
              <a:gd name="T19" fmla="*/ 5160 h 16220"/>
              <a:gd name="T20" fmla="*/ 13992 w 14000"/>
              <a:gd name="T21" fmla="*/ 6126 h 16220"/>
              <a:gd name="T22" fmla="*/ 13992 w 14000"/>
              <a:gd name="T23" fmla="*/ 10094 h 16220"/>
              <a:gd name="T24" fmla="*/ 13869 w 14000"/>
              <a:gd name="T25" fmla="*/ 11060 h 16220"/>
              <a:gd name="T26" fmla="*/ 13609 w 14000"/>
              <a:gd name="T27" fmla="*/ 11977 h 16220"/>
              <a:gd name="T28" fmla="*/ 13221 w 14000"/>
              <a:gd name="T29" fmla="*/ 12834 h 16220"/>
              <a:gd name="T30" fmla="*/ 12719 w 14000"/>
              <a:gd name="T31" fmla="*/ 13620 h 16220"/>
              <a:gd name="T32" fmla="*/ 12112 w 14000"/>
              <a:gd name="T33" fmla="*/ 14323 h 16220"/>
              <a:gd name="T34" fmla="*/ 11412 w 14000"/>
              <a:gd name="T35" fmla="*/ 14934 h 16220"/>
              <a:gd name="T36" fmla="*/ 10630 w 14000"/>
              <a:gd name="T37" fmla="*/ 15438 h 16220"/>
              <a:gd name="T38" fmla="*/ 9777 w 14000"/>
              <a:gd name="T39" fmla="*/ 15827 h 16220"/>
              <a:gd name="T40" fmla="*/ 8865 w 14000"/>
              <a:gd name="T41" fmla="*/ 16088 h 16220"/>
              <a:gd name="T42" fmla="*/ 7903 w 14000"/>
              <a:gd name="T43" fmla="*/ 16212 h 16220"/>
              <a:gd name="T44" fmla="*/ 6097 w 14000"/>
              <a:gd name="T45" fmla="*/ 16212 h 16220"/>
              <a:gd name="T46" fmla="*/ 5135 w 14000"/>
              <a:gd name="T47" fmla="*/ 16088 h 16220"/>
              <a:gd name="T48" fmla="*/ 4222 w 14000"/>
              <a:gd name="T49" fmla="*/ 15827 h 16220"/>
              <a:gd name="T50" fmla="*/ 3370 w 14000"/>
              <a:gd name="T51" fmla="*/ 15438 h 16220"/>
              <a:gd name="T52" fmla="*/ 2588 w 14000"/>
              <a:gd name="T53" fmla="*/ 14934 h 16220"/>
              <a:gd name="T54" fmla="*/ 1888 w 14000"/>
              <a:gd name="T55" fmla="*/ 14323 h 16220"/>
              <a:gd name="T56" fmla="*/ 1280 w 14000"/>
              <a:gd name="T57" fmla="*/ 13620 h 16220"/>
              <a:gd name="T58" fmla="*/ 779 w 14000"/>
              <a:gd name="T59" fmla="*/ 12834 h 16220"/>
              <a:gd name="T60" fmla="*/ 391 w 14000"/>
              <a:gd name="T61" fmla="*/ 11977 h 16220"/>
              <a:gd name="T62" fmla="*/ 131 w 14000"/>
              <a:gd name="T63" fmla="*/ 11060 h 16220"/>
              <a:gd name="T64" fmla="*/ 8 w 14000"/>
              <a:gd name="T65" fmla="*/ 10094 h 16220"/>
              <a:gd name="T66" fmla="*/ 8 w 14000"/>
              <a:gd name="T67" fmla="*/ 6126 h 16220"/>
              <a:gd name="T68" fmla="*/ 131 w 14000"/>
              <a:gd name="T69" fmla="*/ 5160 h 16220"/>
              <a:gd name="T70" fmla="*/ 391 w 14000"/>
              <a:gd name="T71" fmla="*/ 4244 h 16220"/>
              <a:gd name="T72" fmla="*/ 779 w 14000"/>
              <a:gd name="T73" fmla="*/ 3386 h 16220"/>
              <a:gd name="T74" fmla="*/ 1280 w 14000"/>
              <a:gd name="T75" fmla="*/ 2600 h 16220"/>
              <a:gd name="T76" fmla="*/ 1888 w 14000"/>
              <a:gd name="T77" fmla="*/ 1897 h 16220"/>
              <a:gd name="T78" fmla="*/ 2588 w 14000"/>
              <a:gd name="T79" fmla="*/ 1287 h 16220"/>
              <a:gd name="T80" fmla="*/ 3370 w 14000"/>
              <a:gd name="T81" fmla="*/ 783 h 16220"/>
              <a:gd name="T82" fmla="*/ 4222 w 14000"/>
              <a:gd name="T83" fmla="*/ 393 h 16220"/>
              <a:gd name="T84" fmla="*/ 5135 w 14000"/>
              <a:gd name="T85" fmla="*/ 132 h 16220"/>
              <a:gd name="T86" fmla="*/ 6097 w 14000"/>
              <a:gd name="T87" fmla="*/ 8 h 16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00" h="16220">
                <a:moveTo>
                  <a:pt x="6426" y="0"/>
                </a:moveTo>
                <a:lnTo>
                  <a:pt x="7574" y="0"/>
                </a:lnTo>
                <a:lnTo>
                  <a:pt x="7903" y="8"/>
                </a:lnTo>
                <a:lnTo>
                  <a:pt x="8228" y="33"/>
                </a:lnTo>
                <a:lnTo>
                  <a:pt x="8549" y="75"/>
                </a:lnTo>
                <a:lnTo>
                  <a:pt x="8865" y="132"/>
                </a:lnTo>
                <a:lnTo>
                  <a:pt x="9175" y="205"/>
                </a:lnTo>
                <a:lnTo>
                  <a:pt x="9479" y="292"/>
                </a:lnTo>
                <a:lnTo>
                  <a:pt x="9777" y="393"/>
                </a:lnTo>
                <a:lnTo>
                  <a:pt x="10068" y="510"/>
                </a:lnTo>
                <a:lnTo>
                  <a:pt x="10353" y="640"/>
                </a:lnTo>
                <a:lnTo>
                  <a:pt x="10630" y="783"/>
                </a:lnTo>
                <a:lnTo>
                  <a:pt x="10899" y="939"/>
                </a:lnTo>
                <a:lnTo>
                  <a:pt x="11160" y="1107"/>
                </a:lnTo>
                <a:lnTo>
                  <a:pt x="11412" y="1287"/>
                </a:lnTo>
                <a:lnTo>
                  <a:pt x="11655" y="1479"/>
                </a:lnTo>
                <a:lnTo>
                  <a:pt x="11888" y="1683"/>
                </a:lnTo>
                <a:lnTo>
                  <a:pt x="12112" y="1897"/>
                </a:lnTo>
                <a:lnTo>
                  <a:pt x="12325" y="2122"/>
                </a:lnTo>
                <a:lnTo>
                  <a:pt x="12528" y="2356"/>
                </a:lnTo>
                <a:lnTo>
                  <a:pt x="12719" y="2600"/>
                </a:lnTo>
                <a:lnTo>
                  <a:pt x="12898" y="2854"/>
                </a:lnTo>
                <a:lnTo>
                  <a:pt x="13066" y="3115"/>
                </a:lnTo>
                <a:lnTo>
                  <a:pt x="13221" y="3386"/>
                </a:lnTo>
                <a:lnTo>
                  <a:pt x="13363" y="3665"/>
                </a:lnTo>
                <a:lnTo>
                  <a:pt x="13493" y="3951"/>
                </a:lnTo>
                <a:lnTo>
                  <a:pt x="13609" y="4244"/>
                </a:lnTo>
                <a:lnTo>
                  <a:pt x="13709" y="4543"/>
                </a:lnTo>
                <a:lnTo>
                  <a:pt x="13796" y="4849"/>
                </a:lnTo>
                <a:lnTo>
                  <a:pt x="13869" y="5160"/>
                </a:lnTo>
                <a:lnTo>
                  <a:pt x="13925" y="5477"/>
                </a:lnTo>
                <a:lnTo>
                  <a:pt x="13967" y="5800"/>
                </a:lnTo>
                <a:lnTo>
                  <a:pt x="13992" y="6126"/>
                </a:lnTo>
                <a:lnTo>
                  <a:pt x="14000" y="6458"/>
                </a:lnTo>
                <a:lnTo>
                  <a:pt x="14000" y="9762"/>
                </a:lnTo>
                <a:lnTo>
                  <a:pt x="13992" y="10094"/>
                </a:lnTo>
                <a:lnTo>
                  <a:pt x="13967" y="10420"/>
                </a:lnTo>
                <a:lnTo>
                  <a:pt x="13925" y="10743"/>
                </a:lnTo>
                <a:lnTo>
                  <a:pt x="13869" y="11060"/>
                </a:lnTo>
                <a:lnTo>
                  <a:pt x="13796" y="11372"/>
                </a:lnTo>
                <a:lnTo>
                  <a:pt x="13709" y="11677"/>
                </a:lnTo>
                <a:lnTo>
                  <a:pt x="13609" y="11977"/>
                </a:lnTo>
                <a:lnTo>
                  <a:pt x="13493" y="12270"/>
                </a:lnTo>
                <a:lnTo>
                  <a:pt x="13363" y="12556"/>
                </a:lnTo>
                <a:lnTo>
                  <a:pt x="13221" y="12834"/>
                </a:lnTo>
                <a:lnTo>
                  <a:pt x="13066" y="13105"/>
                </a:lnTo>
                <a:lnTo>
                  <a:pt x="12898" y="13366"/>
                </a:lnTo>
                <a:lnTo>
                  <a:pt x="12719" y="13620"/>
                </a:lnTo>
                <a:lnTo>
                  <a:pt x="12528" y="13864"/>
                </a:lnTo>
                <a:lnTo>
                  <a:pt x="12325" y="14099"/>
                </a:lnTo>
                <a:lnTo>
                  <a:pt x="12112" y="14323"/>
                </a:lnTo>
                <a:lnTo>
                  <a:pt x="11888" y="14537"/>
                </a:lnTo>
                <a:lnTo>
                  <a:pt x="11655" y="14741"/>
                </a:lnTo>
                <a:lnTo>
                  <a:pt x="11412" y="14934"/>
                </a:lnTo>
                <a:lnTo>
                  <a:pt x="11160" y="15114"/>
                </a:lnTo>
                <a:lnTo>
                  <a:pt x="10899" y="15282"/>
                </a:lnTo>
                <a:lnTo>
                  <a:pt x="10630" y="15438"/>
                </a:lnTo>
                <a:lnTo>
                  <a:pt x="10353" y="15581"/>
                </a:lnTo>
                <a:lnTo>
                  <a:pt x="10068" y="15711"/>
                </a:lnTo>
                <a:lnTo>
                  <a:pt x="9777" y="15827"/>
                </a:lnTo>
                <a:lnTo>
                  <a:pt x="9479" y="15929"/>
                </a:lnTo>
                <a:lnTo>
                  <a:pt x="9175" y="16016"/>
                </a:lnTo>
                <a:lnTo>
                  <a:pt x="8865" y="16088"/>
                </a:lnTo>
                <a:lnTo>
                  <a:pt x="8549" y="16145"/>
                </a:lnTo>
                <a:lnTo>
                  <a:pt x="8228" y="16187"/>
                </a:lnTo>
                <a:lnTo>
                  <a:pt x="7903" y="16212"/>
                </a:lnTo>
                <a:lnTo>
                  <a:pt x="7574" y="16220"/>
                </a:lnTo>
                <a:lnTo>
                  <a:pt x="6426" y="16220"/>
                </a:lnTo>
                <a:lnTo>
                  <a:pt x="6097" y="16212"/>
                </a:lnTo>
                <a:lnTo>
                  <a:pt x="5772" y="16187"/>
                </a:lnTo>
                <a:lnTo>
                  <a:pt x="5451" y="16145"/>
                </a:lnTo>
                <a:lnTo>
                  <a:pt x="5135" y="16088"/>
                </a:lnTo>
                <a:lnTo>
                  <a:pt x="4824" y="16016"/>
                </a:lnTo>
                <a:lnTo>
                  <a:pt x="4521" y="15929"/>
                </a:lnTo>
                <a:lnTo>
                  <a:pt x="4222" y="15827"/>
                </a:lnTo>
                <a:lnTo>
                  <a:pt x="3931" y="15711"/>
                </a:lnTo>
                <a:lnTo>
                  <a:pt x="3646" y="15581"/>
                </a:lnTo>
                <a:lnTo>
                  <a:pt x="3370" y="15438"/>
                </a:lnTo>
                <a:lnTo>
                  <a:pt x="3100" y="15282"/>
                </a:lnTo>
                <a:lnTo>
                  <a:pt x="2840" y="15114"/>
                </a:lnTo>
                <a:lnTo>
                  <a:pt x="2588" y="14934"/>
                </a:lnTo>
                <a:lnTo>
                  <a:pt x="2345" y="14741"/>
                </a:lnTo>
                <a:lnTo>
                  <a:pt x="2111" y="14537"/>
                </a:lnTo>
                <a:lnTo>
                  <a:pt x="1888" y="14323"/>
                </a:lnTo>
                <a:lnTo>
                  <a:pt x="1675" y="14099"/>
                </a:lnTo>
                <a:lnTo>
                  <a:pt x="1472" y="13864"/>
                </a:lnTo>
                <a:lnTo>
                  <a:pt x="1280" y="13620"/>
                </a:lnTo>
                <a:lnTo>
                  <a:pt x="1102" y="13366"/>
                </a:lnTo>
                <a:lnTo>
                  <a:pt x="933" y="13105"/>
                </a:lnTo>
                <a:lnTo>
                  <a:pt x="779" y="12834"/>
                </a:lnTo>
                <a:lnTo>
                  <a:pt x="636" y="12556"/>
                </a:lnTo>
                <a:lnTo>
                  <a:pt x="506" y="12270"/>
                </a:lnTo>
                <a:lnTo>
                  <a:pt x="391" y="11977"/>
                </a:lnTo>
                <a:lnTo>
                  <a:pt x="290" y="11677"/>
                </a:lnTo>
                <a:lnTo>
                  <a:pt x="203" y="11372"/>
                </a:lnTo>
                <a:lnTo>
                  <a:pt x="131" y="11060"/>
                </a:lnTo>
                <a:lnTo>
                  <a:pt x="75" y="10743"/>
                </a:lnTo>
                <a:lnTo>
                  <a:pt x="33" y="10420"/>
                </a:lnTo>
                <a:lnTo>
                  <a:pt x="8" y="10094"/>
                </a:lnTo>
                <a:lnTo>
                  <a:pt x="0" y="9762"/>
                </a:lnTo>
                <a:lnTo>
                  <a:pt x="0" y="6458"/>
                </a:lnTo>
                <a:lnTo>
                  <a:pt x="8" y="6126"/>
                </a:lnTo>
                <a:lnTo>
                  <a:pt x="33" y="5800"/>
                </a:lnTo>
                <a:lnTo>
                  <a:pt x="75" y="5477"/>
                </a:lnTo>
                <a:lnTo>
                  <a:pt x="131" y="5160"/>
                </a:lnTo>
                <a:lnTo>
                  <a:pt x="203" y="4849"/>
                </a:lnTo>
                <a:lnTo>
                  <a:pt x="290" y="4543"/>
                </a:lnTo>
                <a:lnTo>
                  <a:pt x="391" y="4244"/>
                </a:lnTo>
                <a:lnTo>
                  <a:pt x="506" y="3951"/>
                </a:lnTo>
                <a:lnTo>
                  <a:pt x="636" y="3665"/>
                </a:lnTo>
                <a:lnTo>
                  <a:pt x="779" y="3386"/>
                </a:lnTo>
                <a:lnTo>
                  <a:pt x="933" y="3115"/>
                </a:lnTo>
                <a:lnTo>
                  <a:pt x="1102" y="2854"/>
                </a:lnTo>
                <a:lnTo>
                  <a:pt x="1280" y="2600"/>
                </a:lnTo>
                <a:lnTo>
                  <a:pt x="1472" y="2356"/>
                </a:lnTo>
                <a:lnTo>
                  <a:pt x="1675" y="2122"/>
                </a:lnTo>
                <a:lnTo>
                  <a:pt x="1888" y="1897"/>
                </a:lnTo>
                <a:lnTo>
                  <a:pt x="2111" y="1683"/>
                </a:lnTo>
                <a:lnTo>
                  <a:pt x="2345" y="1479"/>
                </a:lnTo>
                <a:lnTo>
                  <a:pt x="2588" y="1287"/>
                </a:lnTo>
                <a:lnTo>
                  <a:pt x="2840" y="1107"/>
                </a:lnTo>
                <a:lnTo>
                  <a:pt x="3100" y="939"/>
                </a:lnTo>
                <a:lnTo>
                  <a:pt x="3370" y="783"/>
                </a:lnTo>
                <a:lnTo>
                  <a:pt x="3646" y="640"/>
                </a:lnTo>
                <a:lnTo>
                  <a:pt x="3931" y="510"/>
                </a:lnTo>
                <a:lnTo>
                  <a:pt x="4222" y="393"/>
                </a:lnTo>
                <a:lnTo>
                  <a:pt x="4521" y="292"/>
                </a:lnTo>
                <a:lnTo>
                  <a:pt x="4824" y="205"/>
                </a:lnTo>
                <a:lnTo>
                  <a:pt x="5135" y="132"/>
                </a:lnTo>
                <a:lnTo>
                  <a:pt x="5451" y="75"/>
                </a:lnTo>
                <a:lnTo>
                  <a:pt x="5772" y="33"/>
                </a:lnTo>
                <a:lnTo>
                  <a:pt x="6097" y="8"/>
                </a:lnTo>
                <a:lnTo>
                  <a:pt x="6426" y="0"/>
                </a:ln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lvl1pPr>
              <a:defRPr lang="ru-RU" sz="100"/>
            </a:lvl1pPr>
          </a:lstStyle>
          <a:p>
            <a:pPr lvl="0"/>
            <a:endParaRPr lang="ru-RU"/>
          </a:p>
        </p:txBody>
      </p:sp>
      <p:sp>
        <p:nvSpPr>
          <p:cNvPr id="6" name="Text Placeholder 5">
            <a:extLst>
              <a:ext uri="{FF2B5EF4-FFF2-40B4-BE49-F238E27FC236}">
                <a16:creationId xmlns:a16="http://schemas.microsoft.com/office/drawing/2014/main" id="{17351CE9-BDCE-2447-9BFE-1B341902157A}"/>
              </a:ext>
            </a:extLst>
          </p:cNvPr>
          <p:cNvSpPr>
            <a:spLocks noGrp="1"/>
          </p:cNvSpPr>
          <p:nvPr>
            <p:ph type="body" sz="quarter" idx="11" hasCustomPrompt="1"/>
          </p:nvPr>
        </p:nvSpPr>
        <p:spPr>
          <a:xfrm>
            <a:off x="3630209" y="3587955"/>
            <a:ext cx="7325966" cy="462986"/>
          </a:xfrm>
          <a:prstGeom prst="rect">
            <a:avLst/>
          </a:prstGeom>
        </p:spPr>
        <p:txBody>
          <a:bodyPr lIns="0"/>
          <a:lstStyle>
            <a:lvl1pPr marL="0" indent="0">
              <a:buNone/>
              <a:defRPr sz="2000" b="0">
                <a:solidFill>
                  <a:schemeClr val="tx1"/>
                </a:solidFill>
              </a:defRPr>
            </a:lvl1pPr>
          </a:lstStyle>
          <a:p>
            <a:pPr lvl="0"/>
            <a:r>
              <a:rPr lang="nl-NL" noProof="0"/>
              <a:t>Klik hier om andere gegevens te plaatsen</a:t>
            </a:r>
          </a:p>
        </p:txBody>
      </p:sp>
    </p:spTree>
    <p:extLst>
      <p:ext uri="{BB962C8B-B14F-4D97-AF65-F5344CB8AC3E}">
        <p14:creationId xmlns:p14="http://schemas.microsoft.com/office/powerpoint/2010/main" val="23530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s + iphon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7FABA5-4118-4203-BA93-DBCD7FC450E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647939" y="1732998"/>
            <a:ext cx="4150362" cy="4150362"/>
          </a:xfrm>
          <a:prstGeom prst="rect">
            <a:avLst/>
          </a:prstGeom>
          <a:effectLst>
            <a:reflection blurRad="6350" stA="52000" endA="300" endPos="5000" dir="5400000" sy="-100000" algn="bl" rotWithShape="0"/>
          </a:effectLst>
        </p:spPr>
      </p:pic>
      <p:sp>
        <p:nvSpPr>
          <p:cNvPr id="9" name="Tijdelijke aanduiding voor afbeelding 8">
            <a:extLst>
              <a:ext uri="{FF2B5EF4-FFF2-40B4-BE49-F238E27FC236}">
                <a16:creationId xmlns:a16="http://schemas.microsoft.com/office/drawing/2014/main" id="{7AC03326-A076-4F94-9CFB-3CB9CB975FB3}"/>
              </a:ext>
            </a:extLst>
          </p:cNvPr>
          <p:cNvSpPr>
            <a:spLocks noGrp="1"/>
          </p:cNvSpPr>
          <p:nvPr>
            <p:ph type="pic" sz="quarter" idx="14" hasCustomPrompt="1"/>
          </p:nvPr>
        </p:nvSpPr>
        <p:spPr>
          <a:xfrm>
            <a:off x="8805863" y="1928813"/>
            <a:ext cx="1728788" cy="3743325"/>
          </a:xfrm>
          <a:custGeom>
            <a:avLst/>
            <a:gdLst>
              <a:gd name="connsiteX0" fmla="*/ 183355 w 1728788"/>
              <a:gd name="connsiteY0" fmla="*/ 0 h 3743325"/>
              <a:gd name="connsiteX1" fmla="*/ 385762 w 1728788"/>
              <a:gd name="connsiteY1" fmla="*/ 0 h 3743325"/>
              <a:gd name="connsiteX2" fmla="*/ 385762 w 1728788"/>
              <a:gd name="connsiteY2" fmla="*/ 42066 h 3743325"/>
              <a:gd name="connsiteX3" fmla="*/ 481808 w 1728788"/>
              <a:gd name="connsiteY3" fmla="*/ 138112 h 3743325"/>
              <a:gd name="connsiteX4" fmla="*/ 1251741 w 1728788"/>
              <a:gd name="connsiteY4" fmla="*/ 138112 h 3743325"/>
              <a:gd name="connsiteX5" fmla="*/ 1347787 w 1728788"/>
              <a:gd name="connsiteY5" fmla="*/ 42066 h 3743325"/>
              <a:gd name="connsiteX6" fmla="*/ 1347787 w 1728788"/>
              <a:gd name="connsiteY6" fmla="*/ 0 h 3743325"/>
              <a:gd name="connsiteX7" fmla="*/ 1545433 w 1728788"/>
              <a:gd name="connsiteY7" fmla="*/ 0 h 3743325"/>
              <a:gd name="connsiteX8" fmla="*/ 1728788 w 1728788"/>
              <a:gd name="connsiteY8" fmla="*/ 183355 h 3743325"/>
              <a:gd name="connsiteX9" fmla="*/ 1728788 w 1728788"/>
              <a:gd name="connsiteY9" fmla="*/ 3559970 h 3743325"/>
              <a:gd name="connsiteX10" fmla="*/ 1545433 w 1728788"/>
              <a:gd name="connsiteY10" fmla="*/ 3743325 h 3743325"/>
              <a:gd name="connsiteX11" fmla="*/ 183355 w 1728788"/>
              <a:gd name="connsiteY11" fmla="*/ 3743325 h 3743325"/>
              <a:gd name="connsiteX12" fmla="*/ 0 w 1728788"/>
              <a:gd name="connsiteY12" fmla="*/ 3559970 h 3743325"/>
              <a:gd name="connsiteX13" fmla="*/ 0 w 1728788"/>
              <a:gd name="connsiteY13" fmla="*/ 183355 h 3743325"/>
              <a:gd name="connsiteX14" fmla="*/ 183355 w 1728788"/>
              <a:gd name="connsiteY14"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8788" h="3743325">
                <a:moveTo>
                  <a:pt x="183355" y="0"/>
                </a:moveTo>
                <a:lnTo>
                  <a:pt x="385762" y="0"/>
                </a:lnTo>
                <a:lnTo>
                  <a:pt x="385762" y="42066"/>
                </a:lnTo>
                <a:cubicBezTo>
                  <a:pt x="385762" y="95111"/>
                  <a:pt x="428763" y="138112"/>
                  <a:pt x="481808" y="138112"/>
                </a:cubicBezTo>
                <a:lnTo>
                  <a:pt x="1251741" y="138112"/>
                </a:lnTo>
                <a:cubicBezTo>
                  <a:pt x="1304786" y="138112"/>
                  <a:pt x="1347787" y="95111"/>
                  <a:pt x="1347787" y="42066"/>
                </a:cubicBezTo>
                <a:lnTo>
                  <a:pt x="1347787" y="0"/>
                </a:lnTo>
                <a:lnTo>
                  <a:pt x="1545433" y="0"/>
                </a:lnTo>
                <a:cubicBezTo>
                  <a:pt x="1646697" y="0"/>
                  <a:pt x="1728788" y="82091"/>
                  <a:pt x="1728788" y="183355"/>
                </a:cubicBezTo>
                <a:lnTo>
                  <a:pt x="1728788" y="3559970"/>
                </a:lnTo>
                <a:cubicBezTo>
                  <a:pt x="1728788" y="3661234"/>
                  <a:pt x="1646697" y="3743325"/>
                  <a:pt x="1545433" y="3743325"/>
                </a:cubicBezTo>
                <a:lnTo>
                  <a:pt x="183355" y="3743325"/>
                </a:lnTo>
                <a:cubicBezTo>
                  <a:pt x="82091" y="3743325"/>
                  <a:pt x="0" y="3661234"/>
                  <a:pt x="0" y="3559970"/>
                </a:cubicBezTo>
                <a:lnTo>
                  <a:pt x="0" y="183355"/>
                </a:lnTo>
                <a:cubicBezTo>
                  <a:pt x="0" y="82091"/>
                  <a:pt x="82091" y="0"/>
                  <a:pt x="183355" y="0"/>
                </a:cubicBezTo>
                <a:close/>
              </a:path>
            </a:pathLst>
          </a:custGeom>
          <a:pattFill prst="dkUpDiag">
            <a:fgClr>
              <a:schemeClr val="bg1">
                <a:lumMod val="75000"/>
              </a:schemeClr>
            </a:fgClr>
            <a:bgClr>
              <a:schemeClr val="bg1">
                <a:lumMod val="95000"/>
              </a:schemeClr>
            </a:bgClr>
          </a:pattFill>
        </p:spPr>
        <p:txBody>
          <a:bodyPr wrap="square" tIns="180000">
            <a:noAutofit/>
          </a:bodyPr>
          <a:lstStyle>
            <a:lvl1pPr>
              <a:defRPr lang="nl-NL" sz="1600"/>
            </a:lvl1pPr>
          </a:lstStyle>
          <a:p>
            <a:pPr marL="0" lvl="0" indent="0" algn="ctr">
              <a:buNone/>
            </a:pPr>
            <a:r>
              <a:rPr lang="nl-NL" noProof="0"/>
              <a:t>Klik op het icoon om een </a:t>
            </a:r>
            <a:br>
              <a:rPr lang="nl-NL" noProof="0"/>
            </a:br>
            <a:r>
              <a:rPr lang="nl-NL" noProof="0"/>
              <a:t>afbeelding te plaatsen</a:t>
            </a:r>
          </a:p>
        </p:txBody>
      </p:sp>
      <p:sp>
        <p:nvSpPr>
          <p:cNvPr id="10" name="Title 1">
            <a:extLst>
              <a:ext uri="{FF2B5EF4-FFF2-40B4-BE49-F238E27FC236}">
                <a16:creationId xmlns:a16="http://schemas.microsoft.com/office/drawing/2014/main" id="{F1282BC2-5110-CA44-8B22-969ED36BA8F6}"/>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12" name="Text Placeholder 5">
            <a:extLst>
              <a:ext uri="{FF2B5EF4-FFF2-40B4-BE49-F238E27FC236}">
                <a16:creationId xmlns:a16="http://schemas.microsoft.com/office/drawing/2014/main" id="{15E6A5AD-1B61-7E49-BEFA-0B91AC1C837D}"/>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
        <p:nvSpPr>
          <p:cNvPr id="13" name="Tijdelijke aanduiding voor tekst 11">
            <a:extLst>
              <a:ext uri="{FF2B5EF4-FFF2-40B4-BE49-F238E27FC236}">
                <a16:creationId xmlns:a16="http://schemas.microsoft.com/office/drawing/2014/main" id="{C3855572-0397-3040-B2CA-7796DB29F913}"/>
              </a:ext>
            </a:extLst>
          </p:cNvPr>
          <p:cNvSpPr>
            <a:spLocks noGrp="1"/>
          </p:cNvSpPr>
          <p:nvPr>
            <p:ph type="body" sz="quarter" idx="13" hasCustomPrompt="1"/>
          </p:nvPr>
        </p:nvSpPr>
        <p:spPr>
          <a:xfrm>
            <a:off x="579439" y="1944546"/>
            <a:ext cx="7248698" cy="3743325"/>
          </a:xfrm>
          <a:prstGeom prst="rect">
            <a:avLst/>
          </a:prstGeom>
        </p:spPr>
        <p:txBody>
          <a:bodyPr lIns="0" tIns="0" rIns="0" bIns="0"/>
          <a:lstStyle>
            <a:lvl1pPr marL="266700" indent="-266700">
              <a:buClr>
                <a:schemeClr val="accent5"/>
              </a:buClr>
              <a:defRPr sz="2000">
                <a:solidFill>
                  <a:schemeClr val="tx1"/>
                </a:solidFill>
              </a:defRPr>
            </a:lvl1pPr>
            <a:lvl2pPr marL="625475" indent="-266700">
              <a:buClr>
                <a:schemeClr val="accent5"/>
              </a:buClr>
              <a:buFont typeface="Calibri" panose="020F0502020204030204" pitchFamily="34" charset="0"/>
              <a:buChar char="-"/>
              <a:defRPr sz="1800">
                <a:solidFill>
                  <a:schemeClr val="tx1"/>
                </a:solidFill>
              </a:defRPr>
            </a:lvl2pPr>
            <a:lvl3pPr marL="890588" indent="-265113">
              <a:buClr>
                <a:schemeClr val="accent5"/>
              </a:buClr>
              <a:buFont typeface="Wingdings" panose="05000000000000000000" pitchFamily="2" charset="2"/>
              <a:buChar char="§"/>
              <a:defRPr sz="1600">
                <a:solidFill>
                  <a:schemeClr val="tx1">
                    <a:lumMod val="50000"/>
                    <a:lumOff val="50000"/>
                  </a:schemeClr>
                </a:solidFill>
              </a:defRPr>
            </a:lvl3pPr>
          </a:lstStyle>
          <a:p>
            <a:pPr lvl="0"/>
            <a:r>
              <a:rPr lang="nl-NL" noProof="0"/>
              <a:t>Plaats tekst</a:t>
            </a:r>
          </a:p>
          <a:p>
            <a:pPr lvl="1"/>
            <a:r>
              <a:rPr lang="nl-NL" noProof="0"/>
              <a:t>Tweede niveau</a:t>
            </a:r>
          </a:p>
          <a:p>
            <a:pPr lvl="2"/>
            <a:r>
              <a:rPr lang="nl-NL" noProof="0"/>
              <a:t>Derde niveau</a:t>
            </a:r>
          </a:p>
        </p:txBody>
      </p:sp>
      <p:sp>
        <p:nvSpPr>
          <p:cNvPr id="15" name="Text Placeholder 3">
            <a:extLst>
              <a:ext uri="{FF2B5EF4-FFF2-40B4-BE49-F238E27FC236}">
                <a16:creationId xmlns:a16="http://schemas.microsoft.com/office/drawing/2014/main" id="{92E38985-A4F4-B84B-B210-C68B979BEAD6}"/>
              </a:ext>
            </a:extLst>
          </p:cNvPr>
          <p:cNvSpPr>
            <a:spLocks noGrp="1"/>
          </p:cNvSpPr>
          <p:nvPr>
            <p:ph type="body" sz="quarter" idx="10" hasCustomPrompt="1"/>
          </p:nvPr>
        </p:nvSpPr>
        <p:spPr>
          <a:xfrm>
            <a:off x="579438" y="5928735"/>
            <a:ext cx="7248698"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Tree>
    <p:extLst>
      <p:ext uri="{BB962C8B-B14F-4D97-AF65-F5344CB8AC3E}">
        <p14:creationId xmlns:p14="http://schemas.microsoft.com/office/powerpoint/2010/main" val="196728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 iphone in hand">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7AC03326-A076-4F94-9CFB-3CB9CB975FB3}"/>
              </a:ext>
            </a:extLst>
          </p:cNvPr>
          <p:cNvSpPr>
            <a:spLocks noGrp="1"/>
          </p:cNvSpPr>
          <p:nvPr>
            <p:ph type="pic" sz="quarter" idx="14" hasCustomPrompt="1"/>
          </p:nvPr>
        </p:nvSpPr>
        <p:spPr>
          <a:xfrm>
            <a:off x="8816190" y="1928813"/>
            <a:ext cx="1728788" cy="3743325"/>
          </a:xfrm>
          <a:custGeom>
            <a:avLst/>
            <a:gdLst>
              <a:gd name="connsiteX0" fmla="*/ 183355 w 1728788"/>
              <a:gd name="connsiteY0" fmla="*/ 0 h 3743325"/>
              <a:gd name="connsiteX1" fmla="*/ 385762 w 1728788"/>
              <a:gd name="connsiteY1" fmla="*/ 0 h 3743325"/>
              <a:gd name="connsiteX2" fmla="*/ 385762 w 1728788"/>
              <a:gd name="connsiteY2" fmla="*/ 42066 h 3743325"/>
              <a:gd name="connsiteX3" fmla="*/ 481808 w 1728788"/>
              <a:gd name="connsiteY3" fmla="*/ 138112 h 3743325"/>
              <a:gd name="connsiteX4" fmla="*/ 1251741 w 1728788"/>
              <a:gd name="connsiteY4" fmla="*/ 138112 h 3743325"/>
              <a:gd name="connsiteX5" fmla="*/ 1347787 w 1728788"/>
              <a:gd name="connsiteY5" fmla="*/ 42066 h 3743325"/>
              <a:gd name="connsiteX6" fmla="*/ 1347787 w 1728788"/>
              <a:gd name="connsiteY6" fmla="*/ 0 h 3743325"/>
              <a:gd name="connsiteX7" fmla="*/ 1545433 w 1728788"/>
              <a:gd name="connsiteY7" fmla="*/ 0 h 3743325"/>
              <a:gd name="connsiteX8" fmla="*/ 1728788 w 1728788"/>
              <a:gd name="connsiteY8" fmla="*/ 183355 h 3743325"/>
              <a:gd name="connsiteX9" fmla="*/ 1728788 w 1728788"/>
              <a:gd name="connsiteY9" fmla="*/ 3559970 h 3743325"/>
              <a:gd name="connsiteX10" fmla="*/ 1545433 w 1728788"/>
              <a:gd name="connsiteY10" fmla="*/ 3743325 h 3743325"/>
              <a:gd name="connsiteX11" fmla="*/ 183355 w 1728788"/>
              <a:gd name="connsiteY11" fmla="*/ 3743325 h 3743325"/>
              <a:gd name="connsiteX12" fmla="*/ 0 w 1728788"/>
              <a:gd name="connsiteY12" fmla="*/ 3559970 h 3743325"/>
              <a:gd name="connsiteX13" fmla="*/ 0 w 1728788"/>
              <a:gd name="connsiteY13" fmla="*/ 183355 h 3743325"/>
              <a:gd name="connsiteX14" fmla="*/ 183355 w 1728788"/>
              <a:gd name="connsiteY14"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8788" h="3743325">
                <a:moveTo>
                  <a:pt x="183355" y="0"/>
                </a:moveTo>
                <a:lnTo>
                  <a:pt x="385762" y="0"/>
                </a:lnTo>
                <a:lnTo>
                  <a:pt x="385762" y="42066"/>
                </a:lnTo>
                <a:cubicBezTo>
                  <a:pt x="385762" y="95111"/>
                  <a:pt x="428763" y="138112"/>
                  <a:pt x="481808" y="138112"/>
                </a:cubicBezTo>
                <a:lnTo>
                  <a:pt x="1251741" y="138112"/>
                </a:lnTo>
                <a:cubicBezTo>
                  <a:pt x="1304786" y="138112"/>
                  <a:pt x="1347787" y="95111"/>
                  <a:pt x="1347787" y="42066"/>
                </a:cubicBezTo>
                <a:lnTo>
                  <a:pt x="1347787" y="0"/>
                </a:lnTo>
                <a:lnTo>
                  <a:pt x="1545433" y="0"/>
                </a:lnTo>
                <a:cubicBezTo>
                  <a:pt x="1646697" y="0"/>
                  <a:pt x="1728788" y="82091"/>
                  <a:pt x="1728788" y="183355"/>
                </a:cubicBezTo>
                <a:lnTo>
                  <a:pt x="1728788" y="3559970"/>
                </a:lnTo>
                <a:cubicBezTo>
                  <a:pt x="1728788" y="3661234"/>
                  <a:pt x="1646697" y="3743325"/>
                  <a:pt x="1545433" y="3743325"/>
                </a:cubicBezTo>
                <a:lnTo>
                  <a:pt x="183355" y="3743325"/>
                </a:lnTo>
                <a:cubicBezTo>
                  <a:pt x="82091" y="3743325"/>
                  <a:pt x="0" y="3661234"/>
                  <a:pt x="0" y="3559970"/>
                </a:cubicBezTo>
                <a:lnTo>
                  <a:pt x="0" y="183355"/>
                </a:lnTo>
                <a:cubicBezTo>
                  <a:pt x="0" y="82091"/>
                  <a:pt x="82091" y="0"/>
                  <a:pt x="183355" y="0"/>
                </a:cubicBezTo>
                <a:close/>
              </a:path>
            </a:pathLst>
          </a:custGeom>
          <a:pattFill prst="dkUpDiag">
            <a:fgClr>
              <a:schemeClr val="bg1">
                <a:lumMod val="75000"/>
              </a:schemeClr>
            </a:fgClr>
            <a:bgClr>
              <a:schemeClr val="bg1">
                <a:lumMod val="95000"/>
              </a:schemeClr>
            </a:bgClr>
          </a:pattFill>
        </p:spPr>
        <p:txBody>
          <a:bodyPr wrap="square" tIns="180000">
            <a:noAutofit/>
          </a:bodyPr>
          <a:lstStyle>
            <a:lvl1pPr>
              <a:defRPr lang="nl-NL" sz="1600"/>
            </a:lvl1pPr>
          </a:lstStyle>
          <a:p>
            <a:pPr marL="0" lvl="0" indent="0" algn="ctr">
              <a:buNone/>
            </a:pPr>
            <a:r>
              <a:rPr lang="nl-NL" noProof="0"/>
              <a:t>Klik op het icoon om een </a:t>
            </a:r>
            <a:br>
              <a:rPr lang="nl-NL" noProof="0"/>
            </a:br>
            <a:r>
              <a:rPr lang="nl-NL" noProof="0"/>
              <a:t>afbeelding te plaatsen</a:t>
            </a:r>
          </a:p>
        </p:txBody>
      </p:sp>
      <p:sp>
        <p:nvSpPr>
          <p:cNvPr id="10" name="Title 1">
            <a:extLst>
              <a:ext uri="{FF2B5EF4-FFF2-40B4-BE49-F238E27FC236}">
                <a16:creationId xmlns:a16="http://schemas.microsoft.com/office/drawing/2014/main" id="{F1282BC2-5110-CA44-8B22-969ED36BA8F6}"/>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11" name="Text Placeholder 3">
            <a:extLst>
              <a:ext uri="{FF2B5EF4-FFF2-40B4-BE49-F238E27FC236}">
                <a16:creationId xmlns:a16="http://schemas.microsoft.com/office/drawing/2014/main" id="{8DBB8563-24CC-0C4D-A70B-BC71CEEE1A54}"/>
              </a:ext>
            </a:extLst>
          </p:cNvPr>
          <p:cNvSpPr>
            <a:spLocks noGrp="1"/>
          </p:cNvSpPr>
          <p:nvPr>
            <p:ph type="body" sz="quarter" idx="10" hasCustomPrompt="1"/>
          </p:nvPr>
        </p:nvSpPr>
        <p:spPr>
          <a:xfrm>
            <a:off x="579438" y="5928735"/>
            <a:ext cx="7248698"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12" name="Text Placeholder 5">
            <a:extLst>
              <a:ext uri="{FF2B5EF4-FFF2-40B4-BE49-F238E27FC236}">
                <a16:creationId xmlns:a16="http://schemas.microsoft.com/office/drawing/2014/main" id="{15E6A5AD-1B61-7E49-BEFA-0B91AC1C837D}"/>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defRPr>
            </a:lvl1pPr>
          </a:lstStyle>
          <a:p>
            <a:pPr lvl="0"/>
            <a:r>
              <a:rPr lang="nl-NL" noProof="0"/>
              <a:t>Klik hier om een subtitel te plaatsen</a:t>
            </a:r>
          </a:p>
        </p:txBody>
      </p:sp>
      <p:sp>
        <p:nvSpPr>
          <p:cNvPr id="13" name="Tijdelijke aanduiding voor tekst 11">
            <a:extLst>
              <a:ext uri="{FF2B5EF4-FFF2-40B4-BE49-F238E27FC236}">
                <a16:creationId xmlns:a16="http://schemas.microsoft.com/office/drawing/2014/main" id="{C3855572-0397-3040-B2CA-7796DB29F913}"/>
              </a:ext>
            </a:extLst>
          </p:cNvPr>
          <p:cNvSpPr>
            <a:spLocks noGrp="1"/>
          </p:cNvSpPr>
          <p:nvPr>
            <p:ph type="body" sz="quarter" idx="13" hasCustomPrompt="1"/>
          </p:nvPr>
        </p:nvSpPr>
        <p:spPr>
          <a:xfrm>
            <a:off x="579438" y="1944546"/>
            <a:ext cx="7248697" cy="3709685"/>
          </a:xfrm>
          <a:prstGeom prst="rect">
            <a:avLst/>
          </a:prstGeom>
        </p:spPr>
        <p:txBody>
          <a:bodyPr lIns="0" tIns="0" rIns="0" bIns="0"/>
          <a:lstStyle>
            <a:lvl1pPr marL="266700" indent="-266700">
              <a:buClr>
                <a:schemeClr val="accent5"/>
              </a:buClr>
              <a:defRPr sz="2000">
                <a:solidFill>
                  <a:schemeClr val="tx1"/>
                </a:solidFill>
              </a:defRPr>
            </a:lvl1pPr>
            <a:lvl2pPr marL="625475" indent="-266700">
              <a:buClr>
                <a:schemeClr val="accent5"/>
              </a:buClr>
              <a:buFont typeface="Calibri" panose="020F0502020204030204" pitchFamily="34" charset="0"/>
              <a:buChar char="-"/>
              <a:defRPr sz="1800">
                <a:solidFill>
                  <a:schemeClr val="tx1"/>
                </a:solidFill>
              </a:defRPr>
            </a:lvl2pPr>
            <a:lvl3pPr marL="890588" indent="-265113">
              <a:buClr>
                <a:schemeClr val="accent5"/>
              </a:buClr>
              <a:buFont typeface="Wingdings" panose="05000000000000000000" pitchFamily="2" charset="2"/>
              <a:buChar char="§"/>
              <a:defRPr sz="1600">
                <a:solidFill>
                  <a:schemeClr val="tx1">
                    <a:lumMod val="50000"/>
                    <a:lumOff val="50000"/>
                  </a:schemeClr>
                </a:solidFill>
              </a:defRPr>
            </a:lvl3pPr>
          </a:lstStyle>
          <a:p>
            <a:pPr lvl="0"/>
            <a:r>
              <a:rPr lang="nl-NL" noProof="0"/>
              <a:t>Plaats tekst</a:t>
            </a:r>
          </a:p>
          <a:p>
            <a:pPr lvl="1"/>
            <a:r>
              <a:rPr lang="nl-NL" noProof="0"/>
              <a:t>Tweede niveau</a:t>
            </a:r>
          </a:p>
          <a:p>
            <a:pPr lvl="2"/>
            <a:r>
              <a:rPr lang="nl-NL" noProof="0"/>
              <a:t>Derde niveau</a:t>
            </a:r>
          </a:p>
        </p:txBody>
      </p:sp>
      <p:pic>
        <p:nvPicPr>
          <p:cNvPr id="15" name="Рисунок 3">
            <a:extLst>
              <a:ext uri="{FF2B5EF4-FFF2-40B4-BE49-F238E27FC236}">
                <a16:creationId xmlns:a16="http://schemas.microsoft.com/office/drawing/2014/main" id="{911BFC52-0694-3D43-810C-BDE07076A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19379" y="1546168"/>
            <a:ext cx="4531850" cy="5461461"/>
          </a:xfrm>
          <a:prstGeom prst="rect">
            <a:avLst/>
          </a:prstGeom>
        </p:spPr>
      </p:pic>
    </p:spTree>
    <p:extLst>
      <p:ext uri="{BB962C8B-B14F-4D97-AF65-F5344CB8AC3E}">
        <p14:creationId xmlns:p14="http://schemas.microsoft.com/office/powerpoint/2010/main" val="2794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in laptop">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1282BC2-5110-CA44-8B22-969ED36BA8F6}"/>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defRPr>
            </a:lvl1pPr>
          </a:lstStyle>
          <a:p>
            <a:r>
              <a:rPr lang="nl-NL" noProof="0"/>
              <a:t>Klik hier om een titel te plaatsen</a:t>
            </a:r>
          </a:p>
        </p:txBody>
      </p:sp>
      <p:sp>
        <p:nvSpPr>
          <p:cNvPr id="11" name="Text Placeholder 3">
            <a:extLst>
              <a:ext uri="{FF2B5EF4-FFF2-40B4-BE49-F238E27FC236}">
                <a16:creationId xmlns:a16="http://schemas.microsoft.com/office/drawing/2014/main" id="{8DBB8563-24CC-0C4D-A70B-BC71CEEE1A54}"/>
              </a:ext>
            </a:extLst>
          </p:cNvPr>
          <p:cNvSpPr>
            <a:spLocks noGrp="1"/>
          </p:cNvSpPr>
          <p:nvPr>
            <p:ph type="body" sz="quarter" idx="10" hasCustomPrompt="1"/>
          </p:nvPr>
        </p:nvSpPr>
        <p:spPr>
          <a:xfrm>
            <a:off x="579438" y="5928735"/>
            <a:ext cx="7248698" cy="304800"/>
          </a:xfrm>
          <a:prstGeom prst="rect">
            <a:avLst/>
          </a:prstGeom>
        </p:spPr>
        <p:txBody>
          <a:bodyPr lIns="0"/>
          <a:lstStyle>
            <a:lvl1pPr marL="0" indent="0">
              <a:lnSpc>
                <a:spcPct val="100000"/>
              </a:lnSpc>
              <a:spcBef>
                <a:spcPts val="0"/>
              </a:spcBef>
              <a:buNone/>
              <a:defRPr sz="800" i="1"/>
            </a:lvl1pPr>
            <a:lvl2pPr marL="457200" indent="0">
              <a:lnSpc>
                <a:spcPct val="100000"/>
              </a:lnSpc>
              <a:spcBef>
                <a:spcPts val="0"/>
              </a:spcBef>
              <a:buNone/>
              <a:defRPr sz="800" i="1"/>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pic>
        <p:nvPicPr>
          <p:cNvPr id="8" name="Afbeelding 7" descr="Afbeelding met tekst, elektronica, computer, binnen&#10;&#10;Automatisch gegenereerde beschrijving">
            <a:extLst>
              <a:ext uri="{FF2B5EF4-FFF2-40B4-BE49-F238E27FC236}">
                <a16:creationId xmlns:a16="http://schemas.microsoft.com/office/drawing/2014/main" id="{1B584D05-29D6-CE4D-A644-EC5F190EAC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38504" y="1297632"/>
            <a:ext cx="8514991" cy="5371526"/>
          </a:xfrm>
          <a:prstGeom prst="rect">
            <a:avLst/>
          </a:prstGeom>
        </p:spPr>
      </p:pic>
      <p:sp>
        <p:nvSpPr>
          <p:cNvPr id="14" name="Tijdelijke aanduiding voor afbeelding 8">
            <a:extLst>
              <a:ext uri="{FF2B5EF4-FFF2-40B4-BE49-F238E27FC236}">
                <a16:creationId xmlns:a16="http://schemas.microsoft.com/office/drawing/2014/main" id="{07E72D75-CE5F-EC49-9CA5-5632655510FB}"/>
              </a:ext>
            </a:extLst>
          </p:cNvPr>
          <p:cNvSpPr>
            <a:spLocks noGrp="1"/>
          </p:cNvSpPr>
          <p:nvPr>
            <p:ph type="pic" sz="quarter" idx="14" hasCustomPrompt="1"/>
          </p:nvPr>
        </p:nvSpPr>
        <p:spPr>
          <a:xfrm>
            <a:off x="3104556" y="1487763"/>
            <a:ext cx="6056243" cy="4072605"/>
          </a:xfrm>
          <a:prstGeom prst="rect">
            <a:avLst/>
          </a:prstGeom>
          <a:pattFill prst="dkUpDiag">
            <a:fgClr>
              <a:schemeClr val="bg1">
                <a:lumMod val="75000"/>
              </a:schemeClr>
            </a:fgClr>
            <a:bgClr>
              <a:schemeClr val="bg1">
                <a:lumMod val="95000"/>
              </a:schemeClr>
            </a:bgClr>
          </a:pattFill>
        </p:spPr>
        <p:txBody>
          <a:bodyPr wrap="square" tIns="180000">
            <a:noAutofit/>
          </a:bodyPr>
          <a:lstStyle>
            <a:lvl1pPr>
              <a:defRPr lang="nl-NL" sz="1600"/>
            </a:lvl1pPr>
          </a:lstStyle>
          <a:p>
            <a:pPr marL="0" lvl="0" indent="0" algn="ctr">
              <a:buNone/>
            </a:pPr>
            <a:r>
              <a:rPr lang="nl-NL" noProof="0"/>
              <a:t>Klik op het icoon om een </a:t>
            </a:r>
            <a:br>
              <a:rPr lang="nl-NL" noProof="0"/>
            </a:br>
            <a:r>
              <a:rPr lang="nl-NL" noProof="0"/>
              <a:t>afbeelding te plaatsen</a:t>
            </a:r>
          </a:p>
        </p:txBody>
      </p:sp>
    </p:spTree>
    <p:extLst>
      <p:ext uri="{BB962C8B-B14F-4D97-AF65-F5344CB8AC3E}">
        <p14:creationId xmlns:p14="http://schemas.microsoft.com/office/powerpoint/2010/main" val="102431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go slide met payoff">
    <p:spTree>
      <p:nvGrpSpPr>
        <p:cNvPr id="1" name=""/>
        <p:cNvGrpSpPr/>
        <p:nvPr/>
      </p:nvGrpSpPr>
      <p:grpSpPr>
        <a:xfrm>
          <a:off x="0" y="0"/>
          <a:ext cx="0" cy="0"/>
          <a:chOff x="0" y="0"/>
          <a:chExt cx="0" cy="0"/>
        </a:xfrm>
      </p:grpSpPr>
      <p:pic>
        <p:nvPicPr>
          <p:cNvPr id="9" name="Afbeelding 8" descr="Afbeelding met tekst, illustratie&#10;&#10;Automatisch gegenereerde beschrijving">
            <a:extLst>
              <a:ext uri="{FF2B5EF4-FFF2-40B4-BE49-F238E27FC236}">
                <a16:creationId xmlns:a16="http://schemas.microsoft.com/office/drawing/2014/main" id="{6C23EB9D-C2CE-8B40-93F4-7C59740860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9400" y="1739900"/>
            <a:ext cx="9093200" cy="1689100"/>
          </a:xfrm>
          <a:prstGeom prst="rect">
            <a:avLst/>
          </a:prstGeom>
        </p:spPr>
      </p:pic>
      <p:sp>
        <p:nvSpPr>
          <p:cNvPr id="3" name="Vrije vorm 2">
            <a:extLst>
              <a:ext uri="{FF2B5EF4-FFF2-40B4-BE49-F238E27FC236}">
                <a16:creationId xmlns:a16="http://schemas.microsoft.com/office/drawing/2014/main" id="{4517F798-B072-EA47-B2EC-F3B8986A8B5F}"/>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descr="Afbeelding met pijl&#10;&#10;Automatisch gegenereerde beschrijving">
            <a:extLst>
              <a:ext uri="{FF2B5EF4-FFF2-40B4-BE49-F238E27FC236}">
                <a16:creationId xmlns:a16="http://schemas.microsoft.com/office/drawing/2014/main" id="{409FDA1D-7CE6-194C-8168-B33433157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8630" y="5591896"/>
            <a:ext cx="993482" cy="748323"/>
          </a:xfrm>
          <a:prstGeom prst="rect">
            <a:avLst/>
          </a:prstGeom>
        </p:spPr>
      </p:pic>
      <p:pic>
        <p:nvPicPr>
          <p:cNvPr id="8" name="Afbeelding 7">
            <a:extLst>
              <a:ext uri="{FF2B5EF4-FFF2-40B4-BE49-F238E27FC236}">
                <a16:creationId xmlns:a16="http://schemas.microsoft.com/office/drawing/2014/main" id="{5519A0A0-DA14-C248-A8AF-BD7C1CBFE28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7447" y="5649321"/>
            <a:ext cx="7003828" cy="772352"/>
          </a:xfrm>
          <a:prstGeom prst="rect">
            <a:avLst/>
          </a:prstGeom>
        </p:spPr>
      </p:pic>
    </p:spTree>
    <p:extLst>
      <p:ext uri="{BB962C8B-B14F-4D97-AF65-F5344CB8AC3E}">
        <p14:creationId xmlns:p14="http://schemas.microsoft.com/office/powerpoint/2010/main" val="25214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penings slide">
    <p:spTree>
      <p:nvGrpSpPr>
        <p:cNvPr id="1" name=""/>
        <p:cNvGrpSpPr/>
        <p:nvPr/>
      </p:nvGrpSpPr>
      <p:grpSpPr>
        <a:xfrm>
          <a:off x="0" y="0"/>
          <a:ext cx="0" cy="0"/>
          <a:chOff x="0" y="0"/>
          <a:chExt cx="0" cy="0"/>
        </a:xfrm>
      </p:grpSpPr>
      <p:pic>
        <p:nvPicPr>
          <p:cNvPr id="9" name="Afbeelding 8" descr="Afbeelding met tekst, illustratie&#10;&#10;Automatisch gegenereerde beschrijving">
            <a:extLst>
              <a:ext uri="{FF2B5EF4-FFF2-40B4-BE49-F238E27FC236}">
                <a16:creationId xmlns:a16="http://schemas.microsoft.com/office/drawing/2014/main" id="{6C23EB9D-C2CE-8B40-93F4-7C59740860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5574" y="1158961"/>
            <a:ext cx="7285383" cy="1353291"/>
          </a:xfrm>
          <a:prstGeom prst="rect">
            <a:avLst/>
          </a:prstGeom>
        </p:spPr>
      </p:pic>
      <p:sp>
        <p:nvSpPr>
          <p:cNvPr id="3" name="Vrije vorm 2">
            <a:extLst>
              <a:ext uri="{FF2B5EF4-FFF2-40B4-BE49-F238E27FC236}">
                <a16:creationId xmlns:a16="http://schemas.microsoft.com/office/drawing/2014/main" id="{4517F798-B072-EA47-B2EC-F3B8986A8B5F}"/>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descr="Afbeelding met pijl&#10;&#10;Automatisch gegenereerde beschrijving">
            <a:extLst>
              <a:ext uri="{FF2B5EF4-FFF2-40B4-BE49-F238E27FC236}">
                <a16:creationId xmlns:a16="http://schemas.microsoft.com/office/drawing/2014/main" id="{409FDA1D-7CE6-194C-8168-B33433157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8630" y="5591896"/>
            <a:ext cx="993482" cy="748323"/>
          </a:xfrm>
          <a:prstGeom prst="rect">
            <a:avLst/>
          </a:prstGeom>
        </p:spPr>
      </p:pic>
      <p:pic>
        <p:nvPicPr>
          <p:cNvPr id="8" name="Afbeelding 7">
            <a:extLst>
              <a:ext uri="{FF2B5EF4-FFF2-40B4-BE49-F238E27FC236}">
                <a16:creationId xmlns:a16="http://schemas.microsoft.com/office/drawing/2014/main" id="{5519A0A0-DA14-C248-A8AF-BD7C1CBFE28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7447" y="5649321"/>
            <a:ext cx="7003828" cy="772352"/>
          </a:xfrm>
          <a:prstGeom prst="rect">
            <a:avLst/>
          </a:prstGeom>
        </p:spPr>
      </p:pic>
      <p:sp>
        <p:nvSpPr>
          <p:cNvPr id="2" name="Tekstvak 1">
            <a:extLst>
              <a:ext uri="{FF2B5EF4-FFF2-40B4-BE49-F238E27FC236}">
                <a16:creationId xmlns:a16="http://schemas.microsoft.com/office/drawing/2014/main" id="{D9E52E41-DA46-9A4A-9069-E874EC39E936}"/>
              </a:ext>
            </a:extLst>
          </p:cNvPr>
          <p:cNvSpPr txBox="1"/>
          <p:nvPr userDrawn="1"/>
        </p:nvSpPr>
        <p:spPr>
          <a:xfrm>
            <a:off x="0" y="2839875"/>
            <a:ext cx="12192000" cy="461665"/>
          </a:xfrm>
          <a:prstGeom prst="rect">
            <a:avLst/>
          </a:prstGeom>
          <a:noFill/>
        </p:spPr>
        <p:txBody>
          <a:bodyPr wrap="square" rtlCol="0">
            <a:spAutoFit/>
          </a:bodyPr>
          <a:lstStyle/>
          <a:p>
            <a:pPr algn="ctr"/>
            <a:r>
              <a:rPr lang="nl-NL" sz="2400"/>
              <a:t>voor</a:t>
            </a:r>
          </a:p>
        </p:txBody>
      </p:sp>
      <p:sp>
        <p:nvSpPr>
          <p:cNvPr id="11" name="Tijdelijke aanduiding voor tekst 10">
            <a:extLst>
              <a:ext uri="{FF2B5EF4-FFF2-40B4-BE49-F238E27FC236}">
                <a16:creationId xmlns:a16="http://schemas.microsoft.com/office/drawing/2014/main" id="{E9968602-1927-FF43-B0AA-1E4D1035502E}"/>
              </a:ext>
            </a:extLst>
          </p:cNvPr>
          <p:cNvSpPr>
            <a:spLocks noGrp="1"/>
          </p:cNvSpPr>
          <p:nvPr>
            <p:ph type="body" sz="quarter" idx="11"/>
          </p:nvPr>
        </p:nvSpPr>
        <p:spPr>
          <a:xfrm>
            <a:off x="0" y="3649930"/>
            <a:ext cx="12192000" cy="1651000"/>
          </a:xfrm>
          <a:prstGeom prst="rect">
            <a:avLst/>
          </a:prstGeom>
        </p:spPr>
        <p:txBody>
          <a:bodyPr/>
          <a:lstStyle>
            <a:lvl1pPr marL="0" indent="0" algn="ctr">
              <a:buFont typeface="Arial" panose="020B0604020202020204" pitchFamily="34" charset="0"/>
              <a:buNone/>
              <a:defRPr sz="4000" b="1">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nl-NL"/>
              <a:t>Klikken om de tekststijl van het model te bewerken</a:t>
            </a:r>
          </a:p>
        </p:txBody>
      </p:sp>
    </p:spTree>
    <p:extLst>
      <p:ext uri="{BB962C8B-B14F-4D97-AF65-F5344CB8AC3E}">
        <p14:creationId xmlns:p14="http://schemas.microsoft.com/office/powerpoint/2010/main" val="380911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kolomme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588341" y="1498201"/>
            <a:ext cx="3394900"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cxnSp>
        <p:nvCxnSpPr>
          <p:cNvPr id="15" name="Straight Connector 59"/>
          <p:cNvCxnSpPr/>
          <p:nvPr userDrawn="1"/>
        </p:nvCxnSpPr>
        <p:spPr>
          <a:xfrm>
            <a:off x="6079237" y="145756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588255" y="1896933"/>
            <a:ext cx="3395350"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2588341" y="2888738"/>
            <a:ext cx="3394900"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2588255" y="3265333"/>
            <a:ext cx="3395350"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6" name="Tijdelijke aanduiding voor tekst 35"/>
          <p:cNvSpPr>
            <a:spLocks noGrp="1"/>
          </p:cNvSpPr>
          <p:nvPr>
            <p:ph type="body" sz="quarter" idx="41" hasCustomPrompt="1"/>
          </p:nvPr>
        </p:nvSpPr>
        <p:spPr>
          <a:xfrm>
            <a:off x="2588341" y="4279275"/>
            <a:ext cx="3394900"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2588255" y="4655870"/>
            <a:ext cx="3395350"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79" name="Tijdelijke aanduiding voor tekst 35"/>
          <p:cNvSpPr>
            <a:spLocks noGrp="1"/>
          </p:cNvSpPr>
          <p:nvPr>
            <p:ph type="body" sz="quarter" idx="44" hasCustomPrompt="1"/>
          </p:nvPr>
        </p:nvSpPr>
        <p:spPr>
          <a:xfrm>
            <a:off x="7173865" y="1498201"/>
            <a:ext cx="3376447"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baseline="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0" name="Tijdelijke aanduiding voor tekst 37"/>
          <p:cNvSpPr>
            <a:spLocks noGrp="1"/>
          </p:cNvSpPr>
          <p:nvPr>
            <p:ph type="body" sz="quarter" idx="45" hasCustomPrompt="1"/>
          </p:nvPr>
        </p:nvSpPr>
        <p:spPr>
          <a:xfrm>
            <a:off x="7173911" y="1896933"/>
            <a:ext cx="3376894"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2" name="Tijdelijke aanduiding voor tekst 35"/>
          <p:cNvSpPr>
            <a:spLocks noGrp="1"/>
          </p:cNvSpPr>
          <p:nvPr>
            <p:ph type="body" sz="quarter" idx="47" hasCustomPrompt="1"/>
          </p:nvPr>
        </p:nvSpPr>
        <p:spPr>
          <a:xfrm>
            <a:off x="7173865" y="2888738"/>
            <a:ext cx="3376447"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3" name="Tijdelijke aanduiding voor tekst 37"/>
          <p:cNvSpPr>
            <a:spLocks noGrp="1"/>
          </p:cNvSpPr>
          <p:nvPr>
            <p:ph type="body" sz="quarter" idx="48" hasCustomPrompt="1"/>
          </p:nvPr>
        </p:nvSpPr>
        <p:spPr>
          <a:xfrm>
            <a:off x="7173911" y="3265333"/>
            <a:ext cx="3376894"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4" name="Tijdelijke aanduiding voor tekst 71"/>
          <p:cNvSpPr>
            <a:spLocks noGrp="1"/>
          </p:cNvSpPr>
          <p:nvPr>
            <p:ph type="body" sz="quarter" idx="49" hasCustomPrompt="1"/>
          </p:nvPr>
        </p:nvSpPr>
        <p:spPr>
          <a:xfrm>
            <a:off x="6261555" y="2868418"/>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85" name="Tijdelijke aanduiding voor tekst 35"/>
          <p:cNvSpPr>
            <a:spLocks noGrp="1"/>
          </p:cNvSpPr>
          <p:nvPr>
            <p:ph type="body" sz="quarter" idx="50" hasCustomPrompt="1"/>
          </p:nvPr>
        </p:nvSpPr>
        <p:spPr>
          <a:xfrm>
            <a:off x="7173865" y="4279275"/>
            <a:ext cx="3376447"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86" name="Tijdelijke aanduiding voor tekst 37"/>
          <p:cNvSpPr>
            <a:spLocks noGrp="1"/>
          </p:cNvSpPr>
          <p:nvPr>
            <p:ph type="body" sz="quarter" idx="51" hasCustomPrompt="1"/>
          </p:nvPr>
        </p:nvSpPr>
        <p:spPr>
          <a:xfrm>
            <a:off x="7173911" y="4655870"/>
            <a:ext cx="3376894"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87" name="Tijdelijke aanduiding voor tekst 71"/>
          <p:cNvSpPr>
            <a:spLocks noGrp="1"/>
          </p:cNvSpPr>
          <p:nvPr>
            <p:ph type="body" sz="quarter" idx="52" hasCustomPrompt="1"/>
          </p:nvPr>
        </p:nvSpPr>
        <p:spPr>
          <a:xfrm>
            <a:off x="6261555" y="4258955"/>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latin typeface="Inria Sans" pitchFamily="50" charset="0"/>
              </a:defRPr>
            </a:lvl1pPr>
          </a:lstStyle>
          <a:p>
            <a:r>
              <a:rPr lang="nl-NL" noProof="0"/>
              <a:t>Klik hier om een titel te plaatsen</a:t>
            </a:r>
          </a:p>
        </p:txBody>
      </p:sp>
    </p:spTree>
    <p:extLst>
      <p:ext uri="{BB962C8B-B14F-4D97-AF65-F5344CB8AC3E}">
        <p14:creationId xmlns:p14="http://schemas.microsoft.com/office/powerpoint/2010/main" val="288863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ogo slide met payoff ZWART">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C0CAAE-E220-5E49-91FB-EA35D75DA48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Vrije vorm 6">
            <a:extLst>
              <a:ext uri="{FF2B5EF4-FFF2-40B4-BE49-F238E27FC236}">
                <a16:creationId xmlns:a16="http://schemas.microsoft.com/office/drawing/2014/main" id="{06912B13-15FE-E342-921F-3843D0CE7567}"/>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F4878F6A-13F4-764A-8FA9-9F98B2B1DB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7447" y="5649321"/>
            <a:ext cx="7003828" cy="772352"/>
          </a:xfrm>
          <a:prstGeom prst="rect">
            <a:avLst/>
          </a:prstGeom>
        </p:spPr>
      </p:pic>
      <p:pic>
        <p:nvPicPr>
          <p:cNvPr id="10" name="Afbeelding 9" descr="Afbeelding met tekst, illustratie&#10;&#10;Automatisch gegenereerde beschrijving">
            <a:extLst>
              <a:ext uri="{FF2B5EF4-FFF2-40B4-BE49-F238E27FC236}">
                <a16:creationId xmlns:a16="http://schemas.microsoft.com/office/drawing/2014/main" id="{21FC02E5-6758-4146-B3A5-A83EB92FC97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49400" y="1731497"/>
            <a:ext cx="9093200" cy="1689100"/>
          </a:xfrm>
          <a:prstGeom prst="rect">
            <a:avLst/>
          </a:prstGeom>
        </p:spPr>
      </p:pic>
      <p:pic>
        <p:nvPicPr>
          <p:cNvPr id="11" name="Afbeelding 10">
            <a:extLst>
              <a:ext uri="{FF2B5EF4-FFF2-40B4-BE49-F238E27FC236}">
                <a16:creationId xmlns:a16="http://schemas.microsoft.com/office/drawing/2014/main" id="{D46D138C-82BA-3748-AA92-DE3F9A8B4D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8630" y="5591896"/>
            <a:ext cx="994651" cy="748323"/>
          </a:xfrm>
          <a:prstGeom prst="rect">
            <a:avLst/>
          </a:prstGeom>
        </p:spPr>
      </p:pic>
      <p:pic>
        <p:nvPicPr>
          <p:cNvPr id="14" name="Afbeelding 13">
            <a:extLst>
              <a:ext uri="{FF2B5EF4-FFF2-40B4-BE49-F238E27FC236}">
                <a16:creationId xmlns:a16="http://schemas.microsoft.com/office/drawing/2014/main" id="{95F109D4-CB09-9346-8114-91E02281E2C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99847" y="5640727"/>
            <a:ext cx="6851428" cy="755546"/>
          </a:xfrm>
          <a:prstGeom prst="rect">
            <a:avLst/>
          </a:prstGeom>
        </p:spPr>
      </p:pic>
    </p:spTree>
    <p:extLst>
      <p:ext uri="{BB962C8B-B14F-4D97-AF65-F5344CB8AC3E}">
        <p14:creationId xmlns:p14="http://schemas.microsoft.com/office/powerpoint/2010/main" val="64086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ogo slide ZWART">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C0CAAE-E220-5E49-91FB-EA35D75DA48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descr="Afbeelding met tekst, illustratie&#10;&#10;Automatisch gegenereerde beschrijving">
            <a:extLst>
              <a:ext uri="{FF2B5EF4-FFF2-40B4-BE49-F238E27FC236}">
                <a16:creationId xmlns:a16="http://schemas.microsoft.com/office/drawing/2014/main" id="{8C961D3E-0031-194C-9BD6-CDB533ED0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9400" y="2584450"/>
            <a:ext cx="9093200" cy="1689100"/>
          </a:xfrm>
          <a:prstGeom prst="rect">
            <a:avLst/>
          </a:prstGeom>
        </p:spPr>
      </p:pic>
      <p:sp>
        <p:nvSpPr>
          <p:cNvPr id="6" name="Vrije vorm 5">
            <a:extLst>
              <a:ext uri="{FF2B5EF4-FFF2-40B4-BE49-F238E27FC236}">
                <a16:creationId xmlns:a16="http://schemas.microsoft.com/office/drawing/2014/main" id="{7771B70A-4378-D74B-8C70-53B200004FB2}"/>
              </a:ext>
            </a:extLst>
          </p:cNvPr>
          <p:cNvSpPr/>
          <p:nvPr userDrawn="1"/>
        </p:nvSpPr>
        <p:spPr>
          <a:xfrm>
            <a:off x="-13925" y="5976944"/>
            <a:ext cx="12213724" cy="88945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3724" h="889459">
                <a:moveTo>
                  <a:pt x="0" y="652711"/>
                </a:moveTo>
                <a:lnTo>
                  <a:pt x="12213724" y="0"/>
                </a:lnTo>
                <a:cubicBezTo>
                  <a:pt x="12212666" y="296159"/>
                  <a:pt x="12211607" y="592317"/>
                  <a:pt x="12210549" y="888476"/>
                </a:cubicBezTo>
                <a:lnTo>
                  <a:pt x="1623" y="889459"/>
                </a:lnTo>
                <a:lnTo>
                  <a:pt x="0" y="65271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9753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9023192"/>
      </p:ext>
    </p:extLst>
  </p:cSld>
  <p:clrMapOvr>
    <a:masterClrMapping/>
  </p:clrMapOvr>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kolom">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588782" y="1498201"/>
            <a:ext cx="6364794" cy="36032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38" name="Tijdelijke aanduiding voor tekst 37"/>
          <p:cNvSpPr>
            <a:spLocks noGrp="1"/>
          </p:cNvSpPr>
          <p:nvPr>
            <p:ph type="body" sz="quarter" idx="12" hasCustomPrompt="1"/>
          </p:nvPr>
        </p:nvSpPr>
        <p:spPr>
          <a:xfrm>
            <a:off x="2588682" y="1877251"/>
            <a:ext cx="6365637"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3" name="Tijdelijke aanduiding voor tekst 35"/>
          <p:cNvSpPr>
            <a:spLocks noGrp="1"/>
          </p:cNvSpPr>
          <p:nvPr>
            <p:ph type="body" sz="quarter" idx="38" hasCustomPrompt="1"/>
          </p:nvPr>
        </p:nvSpPr>
        <p:spPr>
          <a:xfrm>
            <a:off x="2588782" y="2888738"/>
            <a:ext cx="6364794" cy="380642"/>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4" name="Tijdelijke aanduiding voor tekst 37"/>
          <p:cNvSpPr>
            <a:spLocks noGrp="1"/>
          </p:cNvSpPr>
          <p:nvPr>
            <p:ph type="body" sz="quarter" idx="39" hasCustomPrompt="1"/>
          </p:nvPr>
        </p:nvSpPr>
        <p:spPr>
          <a:xfrm>
            <a:off x="2588682" y="3267788"/>
            <a:ext cx="6365637"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76" name="Tijdelijke aanduiding voor tekst 35"/>
          <p:cNvSpPr>
            <a:spLocks noGrp="1"/>
          </p:cNvSpPr>
          <p:nvPr>
            <p:ph type="body" sz="quarter" idx="41" hasCustomPrompt="1"/>
          </p:nvPr>
        </p:nvSpPr>
        <p:spPr>
          <a:xfrm>
            <a:off x="2588782" y="4279275"/>
            <a:ext cx="6364794" cy="356275"/>
          </a:xfrm>
          <a:prstGeom prst="rect">
            <a:avLst/>
          </a:prstGeom>
          <a:solidFill>
            <a:schemeClr val="accent5"/>
          </a:solidFill>
        </p:spPr>
        <p:txBody>
          <a:bodyPr lIns="72000" tIns="0" rIns="0" bIns="36000" anchor="ctr" anchorCtr="0"/>
          <a:lstStyle>
            <a:lvl1pPr marL="0" indent="0">
              <a:lnSpc>
                <a:spcPct val="100000"/>
              </a:lnSpc>
              <a:spcBef>
                <a:spcPts val="0"/>
              </a:spcBef>
              <a:buNone/>
              <a:defRPr sz="2000">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a:t>Agenda topic</a:t>
            </a:r>
          </a:p>
        </p:txBody>
      </p:sp>
      <p:sp>
        <p:nvSpPr>
          <p:cNvPr id="77" name="Tijdelijke aanduiding voor tekst 37"/>
          <p:cNvSpPr>
            <a:spLocks noGrp="1"/>
          </p:cNvSpPr>
          <p:nvPr>
            <p:ph type="body" sz="quarter" idx="42" hasCustomPrompt="1"/>
          </p:nvPr>
        </p:nvSpPr>
        <p:spPr>
          <a:xfrm>
            <a:off x="2588682" y="4658325"/>
            <a:ext cx="6365637" cy="380642"/>
          </a:xfrm>
          <a:prstGeom prst="rect">
            <a:avLst/>
          </a:prstGeom>
        </p:spPr>
        <p:txBody>
          <a:bodyPr lIns="72000" tIns="72000" rIns="0" bIns="0"/>
          <a:lstStyle>
            <a:lvl1pPr marL="0" indent="0">
              <a:buNone/>
              <a:defRPr sz="1200">
                <a:solidFill>
                  <a:schemeClr val="tx1">
                    <a:lumMod val="50000"/>
                    <a:lumOff val="50000"/>
                  </a:schemeClr>
                </a:solidFill>
                <a:latin typeface="Inria Sans" pitchFamily="50" charset="0"/>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noProof="0"/>
              <a:t>Extra teks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lgn="ctr">
              <a:buNone/>
              <a:defRPr sz="3200" b="1">
                <a:solidFill>
                  <a:schemeClr val="tx1"/>
                </a:solidFill>
                <a:latin typeface="Inria Sans"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noProof="0" err="1"/>
              <a:t>nr</a:t>
            </a:r>
            <a:endParaRPr lang="nl-NL" noProof="0"/>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tx1">
                    <a:lumMod val="50000"/>
                    <a:lumOff val="50000"/>
                  </a:schemeClr>
                </a:solidFill>
                <a:latin typeface="Inria Sans" pitchFamily="50" charset="0"/>
              </a:defRPr>
            </a:lvl1pPr>
          </a:lstStyle>
          <a:p>
            <a:r>
              <a:rPr lang="nl-NL" noProof="0"/>
              <a:t>Klik hier om een titel te plaatsen</a:t>
            </a:r>
          </a:p>
        </p:txBody>
      </p:sp>
    </p:spTree>
    <p:extLst>
      <p:ext uri="{BB962C8B-B14F-4D97-AF65-F5344CB8AC3E}">
        <p14:creationId xmlns:p14="http://schemas.microsoft.com/office/powerpoint/2010/main" val="147525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sp>
        <p:nvSpPr>
          <p:cNvPr id="30" name="Tijdelijke aanduiding voor afbeelding 21">
            <a:extLst>
              <a:ext uri="{FF2B5EF4-FFF2-40B4-BE49-F238E27FC236}">
                <a16:creationId xmlns:a16="http://schemas.microsoft.com/office/drawing/2014/main" id="{A0041067-CB44-1345-B100-78245A7CC945}"/>
              </a:ext>
            </a:extLst>
          </p:cNvPr>
          <p:cNvSpPr>
            <a:spLocks noGrp="1"/>
          </p:cNvSpPr>
          <p:nvPr>
            <p:ph type="pic" sz="quarter" idx="12" hasCustomPrompt="1"/>
          </p:nvPr>
        </p:nvSpPr>
        <p:spPr>
          <a:xfrm>
            <a:off x="0" y="9525"/>
            <a:ext cx="12192000" cy="5111112"/>
          </a:xfrm>
          <a:prstGeom prst="rect">
            <a:avLst/>
          </a:prstGeom>
          <a:solidFill>
            <a:schemeClr val="bg1">
              <a:lumMod val="85000"/>
            </a:schemeClr>
          </a:solidFill>
        </p:spPr>
        <p:txBody>
          <a:bodyPr wrap="square" tIns="180000">
            <a:noAutofit/>
          </a:bodyPr>
          <a:lstStyle>
            <a:lvl1pPr marL="0" indent="0" algn="ctr">
              <a:buFont typeface="Arial" panose="020B0604020202020204" pitchFamily="34" charset="0"/>
              <a:buNone/>
              <a:defRPr lang="nl-NL" sz="1600">
                <a:latin typeface="Inria Sans" pitchFamily="50" charset="0"/>
              </a:defRPr>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0" y="4405744"/>
            <a:ext cx="12191999" cy="709693"/>
          </a:xfrm>
          <a:prstGeom prst="rect">
            <a:avLst/>
          </a:prstGeom>
          <a:solidFill>
            <a:srgbClr val="FFFFFF">
              <a:alpha val="50196"/>
            </a:srgbClr>
          </a:solidFill>
        </p:spPr>
        <p:txBody>
          <a:bodyPr lIns="1260000" tIns="0" rIns="540000" bIns="72000" anchor="b" anchorCtr="0"/>
          <a:lstStyle>
            <a:lvl1pPr>
              <a:defRPr sz="3600">
                <a:solidFill>
                  <a:schemeClr val="tx1"/>
                </a:solidFill>
                <a:latin typeface="Inria Sans" pitchFamily="50" charset="0"/>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6158162"/>
            <a:ext cx="3708862" cy="304800"/>
          </a:xfrm>
          <a:prstGeom prst="rect">
            <a:avLst/>
          </a:prstGeom>
        </p:spPr>
        <p:txBody>
          <a:bodyPr lIns="0"/>
          <a:lstStyle>
            <a:lvl1pPr marL="0" indent="0">
              <a:lnSpc>
                <a:spcPct val="100000"/>
              </a:lnSpc>
              <a:spcBef>
                <a:spcPts val="0"/>
              </a:spcBef>
              <a:buNone/>
              <a:defRPr sz="800" i="0">
                <a:solidFill>
                  <a:schemeClr val="tx1">
                    <a:lumMod val="50000"/>
                    <a:lumOff val="50000"/>
                  </a:schemeClr>
                </a:solidFill>
                <a:latin typeface="Inria Sans" pitchFamily="50" charset="0"/>
              </a:defRPr>
            </a:lvl1pPr>
            <a:lvl2pPr marL="457200" indent="0">
              <a:lnSpc>
                <a:spcPct val="100000"/>
              </a:lnSpc>
              <a:spcBef>
                <a:spcPts val="0"/>
              </a:spcBef>
              <a:buNone/>
              <a:defRPr sz="800" i="0">
                <a:solidFill>
                  <a:schemeClr val="tx1">
                    <a:lumMod val="50000"/>
                    <a:lumOff val="50000"/>
                  </a:schemeClr>
                </a:solidFill>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Stad, Land, Datum, jaar</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5316401"/>
            <a:ext cx="4293504" cy="798650"/>
          </a:xfrm>
          <a:prstGeom prst="rect">
            <a:avLst/>
          </a:prstGeom>
        </p:spPr>
        <p:txBody>
          <a:bodyPr lIns="0"/>
          <a:lstStyle>
            <a:lvl1pPr marL="0" indent="0">
              <a:buNone/>
              <a:defRPr sz="1600" b="1">
                <a:solidFill>
                  <a:schemeClr val="accent5"/>
                </a:solidFill>
                <a:latin typeface="Inria Sans" pitchFamily="50" charset="0"/>
              </a:defRPr>
            </a:lvl1pPr>
            <a:lvl2pPr marL="0" indent="0">
              <a:buNone/>
              <a:defRPr sz="1400">
                <a:solidFill>
                  <a:schemeClr val="tx1">
                    <a:lumMod val="50000"/>
                    <a:lumOff val="50000"/>
                  </a:schemeClr>
                </a:solidFill>
                <a:latin typeface="Inria Sans" pitchFamily="50" charset="0"/>
              </a:defRPr>
            </a:lvl2pPr>
          </a:lstStyle>
          <a:p>
            <a:pPr lvl="0"/>
            <a:r>
              <a:rPr lang="nl-NL" noProof="0"/>
              <a:t>Naam Spreker</a:t>
            </a:r>
          </a:p>
          <a:p>
            <a:pPr lvl="1"/>
            <a:r>
              <a:rPr lang="nl-NL" noProof="0"/>
              <a:t>Afdeling of Titel</a:t>
            </a:r>
          </a:p>
        </p:txBody>
      </p:sp>
      <p:cxnSp>
        <p:nvCxnSpPr>
          <p:cNvPr id="21" name="Straight Connector 20">
            <a:extLst>
              <a:ext uri="{FF2B5EF4-FFF2-40B4-BE49-F238E27FC236}">
                <a16:creationId xmlns:a16="http://schemas.microsoft.com/office/drawing/2014/main" id="{2E8B53E1-5DC7-4C35-B2BA-60925D467EB3}"/>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7991F7-D0E6-4A14-8EA5-6C2D31CA5ABF}"/>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B5CE97-262B-45D3-8CD8-A64B8AA9743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1EB6FA-8FB1-41BF-8856-FD57F0F73099}"/>
              </a:ext>
            </a:extLst>
          </p:cNvPr>
          <p:cNvSpPr txBox="1"/>
          <p:nvPr userDrawn="1"/>
        </p:nvSpPr>
        <p:spPr>
          <a:xfrm>
            <a:off x="12289355" y="3278868"/>
            <a:ext cx="3684342" cy="1338828"/>
          </a:xfrm>
          <a:prstGeom prst="rect">
            <a:avLst/>
          </a:prstGeom>
          <a:noFill/>
        </p:spPr>
        <p:txBody>
          <a:bodyPr wrap="none" rtlCol="0">
            <a:spAutoFit/>
          </a:bodyPr>
          <a:lstStyle/>
          <a:p>
            <a:r>
              <a:rPr lang="nl-NL" sz="900" noProof="0">
                <a:solidFill>
                  <a:schemeClr val="tx1"/>
                </a:solidFill>
                <a:latin typeface="Inria Sans" pitchFamily="50" charset="0"/>
              </a:rPr>
              <a:t>Fotografie</a:t>
            </a:r>
            <a:r>
              <a:rPr lang="nl-NL" sz="900">
                <a:solidFill>
                  <a:schemeClr val="tx1"/>
                </a:solidFill>
                <a:latin typeface="Inria Sans" pitchFamily="50" charset="0"/>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lik op het icoon in het centrum van het grijze vlak</a:t>
            </a:r>
            <a:r>
              <a:rPr lang="nl-NL" sz="900" b="0" kern="1200">
                <a:solidFill>
                  <a:schemeClr val="tx1"/>
                </a:solidFill>
                <a:latin typeface="Inria Sans" pitchFamily="50" charset="0"/>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Om de afbeelding te wijzigen of bij te snijden: ga naar Format&gt; </a:t>
            </a:r>
            <a:r>
              <a:rPr lang="nl-NL" sz="900" b="0" kern="1200" noProof="0" err="1">
                <a:solidFill>
                  <a:schemeClr val="tx1"/>
                </a:solidFill>
                <a:latin typeface="Inria Sans" pitchFamily="50" charset="0"/>
                <a:ea typeface="+mn-ea"/>
                <a:cs typeface="+mn-cs"/>
              </a:rPr>
              <a:t>Crop</a:t>
            </a:r>
            <a:r>
              <a:rPr lang="nl-NL" sz="900" b="0" kern="1200" noProof="0">
                <a:solidFill>
                  <a:schemeClr val="tx1"/>
                </a:solidFill>
                <a:latin typeface="Inria Sans" pitchFamily="50" charset="0"/>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Om een afbeelding weg te gooien, klik het aan en druk op </a:t>
            </a:r>
            <a:br>
              <a:rPr lang="nl-NL" sz="900" b="0" kern="1200" noProof="0">
                <a:solidFill>
                  <a:schemeClr val="tx1"/>
                </a:solidFill>
                <a:latin typeface="Inria Sans" pitchFamily="50" charset="0"/>
                <a:ea typeface="+mn-ea"/>
                <a:cs typeface="+mn-cs"/>
              </a:rPr>
            </a:br>
            <a:r>
              <a:rPr lang="nl-NL" sz="900" b="0" kern="1200" noProof="0">
                <a:solidFill>
                  <a:schemeClr val="tx1"/>
                </a:solidFill>
                <a:latin typeface="Inria Sans" pitchFamily="50" charset="0"/>
                <a:ea typeface="+mn-ea"/>
                <a:cs typeface="+mn-cs"/>
              </a:rPr>
              <a:t>back </a:t>
            </a:r>
            <a:r>
              <a:rPr lang="nl-NL" sz="900" b="0" kern="1200" noProof="0" err="1">
                <a:solidFill>
                  <a:schemeClr val="tx1"/>
                </a:solidFill>
                <a:latin typeface="Inria Sans" pitchFamily="50" charset="0"/>
                <a:ea typeface="+mn-ea"/>
                <a:cs typeface="+mn-cs"/>
              </a:rPr>
              <a:t>space</a:t>
            </a:r>
            <a:r>
              <a:rPr lang="nl-NL" sz="900" b="0" kern="1200" noProof="0">
                <a:solidFill>
                  <a:schemeClr val="tx1"/>
                </a:solidFill>
                <a:latin typeface="Inria Sans" pitchFamily="50" charset="0"/>
                <a:ea typeface="+mn-ea"/>
                <a:cs typeface="+mn-cs"/>
              </a:rPr>
              <a:t> op je toetsenbord.</a:t>
            </a:r>
          </a:p>
        </p:txBody>
      </p:sp>
      <p:sp>
        <p:nvSpPr>
          <p:cNvPr id="26" name="TextBox 25">
            <a:extLst>
              <a:ext uri="{FF2B5EF4-FFF2-40B4-BE49-F238E27FC236}">
                <a16:creationId xmlns:a16="http://schemas.microsoft.com/office/drawing/2014/main" id="{527D3E67-30D3-402F-9C51-EF05D5C6B8E0}"/>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latin typeface="Inria Sans" pitchFamily="50" charset="0"/>
              </a:rPr>
              <a:t>Heb je een andere </a:t>
            </a:r>
            <a:r>
              <a:rPr lang="nl-NL" sz="900" noProof="0" err="1">
                <a:solidFill>
                  <a:schemeClr val="tx1">
                    <a:lumMod val="50000"/>
                    <a:lumOff val="50000"/>
                  </a:schemeClr>
                </a:solidFill>
                <a:latin typeface="Inria Sans" pitchFamily="50" charset="0"/>
              </a:rPr>
              <a:t>layout</a:t>
            </a:r>
            <a:r>
              <a:rPr lang="nl-NL" sz="900" noProof="0">
                <a:solidFill>
                  <a:schemeClr val="tx1">
                    <a:lumMod val="50000"/>
                    <a:lumOff val="50000"/>
                  </a:schemeClr>
                </a:solidFill>
                <a:latin typeface="Inria Sans" pitchFamily="50" charset="0"/>
              </a:rPr>
              <a:t> nodig?</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Klik op Home tab &gt; Indeling.</a:t>
            </a:r>
          </a:p>
          <a:p>
            <a:r>
              <a:rPr lang="nl-NL" sz="900" noProof="0">
                <a:solidFill>
                  <a:schemeClr val="tx1">
                    <a:lumMod val="50000"/>
                    <a:lumOff val="50000"/>
                  </a:schemeClr>
                </a:solidFill>
                <a:latin typeface="Inria Sans" pitchFamily="50" charset="0"/>
              </a:rPr>
              <a:t>Hier kun je alle </a:t>
            </a:r>
            <a:r>
              <a:rPr lang="nl-NL" sz="900" noProof="0" err="1">
                <a:solidFill>
                  <a:schemeClr val="tx1">
                    <a:lumMod val="50000"/>
                    <a:lumOff val="50000"/>
                  </a:schemeClr>
                </a:solidFill>
                <a:latin typeface="Inria Sans" pitchFamily="50" charset="0"/>
              </a:rPr>
              <a:t>dias</a:t>
            </a:r>
            <a:r>
              <a:rPr lang="nl-NL" sz="900" noProof="0">
                <a:solidFill>
                  <a:schemeClr val="tx1">
                    <a:lumMod val="50000"/>
                    <a:lumOff val="50000"/>
                  </a:schemeClr>
                </a:solidFill>
                <a:latin typeface="Inria Sans" pitchFamily="50" charset="0"/>
              </a:rPr>
              <a:t> vinden die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zich in deze template bevinden.</a:t>
            </a:r>
          </a:p>
          <a:p>
            <a:endParaRPr lang="nl-NL" sz="900" noProof="0">
              <a:solidFill>
                <a:schemeClr val="tx1">
                  <a:lumMod val="50000"/>
                  <a:lumOff val="50000"/>
                </a:schemeClr>
              </a:solidFill>
              <a:latin typeface="Inria Sans" pitchFamily="50" charset="0"/>
            </a:endParaRPr>
          </a:p>
          <a:p>
            <a:r>
              <a:rPr lang="nl-NL" sz="900" noProof="0">
                <a:solidFill>
                  <a:schemeClr val="tx1">
                    <a:lumMod val="50000"/>
                    <a:lumOff val="50000"/>
                  </a:schemeClr>
                </a:solidFill>
                <a:latin typeface="Inria Sans" pitchFamily="50" charset="0"/>
              </a:rPr>
              <a:t>Volgt je dia niet meer de template of</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staan </a:t>
            </a:r>
            <a:r>
              <a:rPr lang="nl-NL" sz="900" noProof="0" err="1">
                <a:solidFill>
                  <a:schemeClr val="tx1">
                    <a:lumMod val="50000"/>
                    <a:lumOff val="50000"/>
                  </a:schemeClr>
                </a:solidFill>
                <a:latin typeface="Inria Sans" pitchFamily="50" charset="0"/>
              </a:rPr>
              <a:t>bullets</a:t>
            </a:r>
            <a:r>
              <a:rPr lang="nl-NL" sz="900" noProof="0">
                <a:solidFill>
                  <a:schemeClr val="tx1">
                    <a:lumMod val="50000"/>
                    <a:lumOff val="50000"/>
                  </a:schemeClr>
                </a:solidFill>
                <a:latin typeface="Inria Sans" pitchFamily="50" charset="0"/>
              </a:rPr>
              <a:t> en titels scheef t.o.v. de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Ga naar de </a:t>
            </a:r>
            <a:r>
              <a:rPr lang="nl-NL" sz="900" b="0" kern="1200" noProof="0" err="1">
                <a:solidFill>
                  <a:schemeClr val="tx1"/>
                </a:solidFill>
                <a:latin typeface="Inria Sans" pitchFamily="50" charset="0"/>
                <a:ea typeface="+mn-ea"/>
                <a:cs typeface="+mn-cs"/>
              </a:rPr>
              <a:t>minis</a:t>
            </a:r>
            <a:r>
              <a:rPr lang="nl-NL" sz="900" b="0" kern="1200" noProof="0">
                <a:solidFill>
                  <a:schemeClr val="tx1"/>
                </a:solidFill>
                <a:latin typeface="Inria Sans" pitchFamily="50" charset="0"/>
                <a:ea typeface="+mn-ea"/>
                <a:cs typeface="+mn-cs"/>
              </a:rPr>
              <a:t> aan de linkerkant. </a:t>
            </a:r>
            <a:br>
              <a:rPr lang="nl-NL" sz="900" b="0" kern="1200" noProof="0">
                <a:solidFill>
                  <a:schemeClr val="tx1"/>
                </a:solidFill>
                <a:latin typeface="Inria Sans" pitchFamily="50" charset="0"/>
                <a:ea typeface="+mn-ea"/>
                <a:cs typeface="+mn-cs"/>
              </a:rPr>
            </a:br>
            <a:r>
              <a:rPr lang="nl-NL" sz="900" b="0" kern="1200" noProof="0">
                <a:solidFill>
                  <a:schemeClr val="tx1"/>
                </a:solidFill>
                <a:latin typeface="Inria Sans" pitchFamily="50" charset="0"/>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Rechtermuis klik: dia herstellen.</a:t>
            </a:r>
          </a:p>
        </p:txBody>
      </p:sp>
      <p:sp>
        <p:nvSpPr>
          <p:cNvPr id="27" name="TextBox 26">
            <a:extLst>
              <a:ext uri="{FF2B5EF4-FFF2-40B4-BE49-F238E27FC236}">
                <a16:creationId xmlns:a16="http://schemas.microsoft.com/office/drawing/2014/main" id="{20BA87FF-BE4B-4691-A917-7610BDDB1696}"/>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latin typeface="Inria Sans" pitchFamily="50" charset="0"/>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endParaRPr lang="nl-NL" sz="900" b="1" kern="1200" noProof="0">
              <a:solidFill>
                <a:schemeClr val="tx1"/>
              </a:solidFill>
              <a:latin typeface="Inria Sans" pitchFamily="50" charset="0"/>
              <a:ea typeface="+mn-ea"/>
              <a:cs typeface="+mn-cs"/>
            </a:endParaRPr>
          </a:p>
          <a:p>
            <a:endParaRPr lang="nl-NL" sz="900" b="1" noProof="0">
              <a:latin typeface="Inria Sans" pitchFamily="50" charset="0"/>
            </a:endParaRPr>
          </a:p>
          <a:p>
            <a:r>
              <a:rPr lang="nl-NL" sz="900" noProof="0">
                <a:solidFill>
                  <a:schemeClr val="tx1">
                    <a:lumMod val="50000"/>
                    <a:lumOff val="50000"/>
                  </a:schemeClr>
                </a:solidFill>
                <a:latin typeface="Inria Sans" pitchFamily="50" charset="0"/>
              </a:rPr>
              <a:t>Deze variaties van het </a:t>
            </a:r>
            <a:r>
              <a:rPr lang="nl-NL" sz="900" noProof="0" err="1">
                <a:solidFill>
                  <a:schemeClr val="tx1">
                    <a:lumMod val="50000"/>
                    <a:lumOff val="50000"/>
                  </a:schemeClr>
                </a:solidFill>
                <a:latin typeface="Inria Sans" pitchFamily="50" charset="0"/>
              </a:rPr>
              <a:t>Arial</a:t>
            </a:r>
            <a:r>
              <a:rPr lang="nl-NL" sz="900" noProof="0">
                <a:solidFill>
                  <a:schemeClr val="tx1">
                    <a:lumMod val="50000"/>
                    <a:lumOff val="50000"/>
                  </a:schemeClr>
                </a:solidFill>
                <a:latin typeface="Inria Sans" pitchFamily="50" charset="0"/>
              </a:rPr>
              <a:t> font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a:t>
            </a:r>
            <a:r>
              <a:rPr lang="nl-NL" sz="900" b="1" kern="1200" noProof="0" err="1">
                <a:solidFill>
                  <a:schemeClr val="tx1"/>
                </a:solidFill>
                <a:latin typeface="Inria Sans" pitchFamily="50" charset="0"/>
                <a:ea typeface="+mn-ea"/>
                <a:cs typeface="+mn-cs"/>
              </a:rPr>
              <a:t>Regular</a:t>
            </a:r>
            <a:endParaRPr lang="nl-NL" sz="900" b="1" kern="1200" noProof="0">
              <a:solidFill>
                <a:schemeClr val="tx1"/>
              </a:solidFill>
              <a:latin typeface="Inria Sans" pitchFamily="50" charset="0"/>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a:t>
            </a:r>
            <a:r>
              <a:rPr lang="nl-NL" sz="900" b="1" kern="1200" noProof="0" err="1">
                <a:solidFill>
                  <a:schemeClr val="tx1"/>
                </a:solidFill>
                <a:latin typeface="Inria Sans" pitchFamily="50" charset="0"/>
                <a:ea typeface="+mn-ea"/>
                <a:cs typeface="+mn-cs"/>
              </a:rPr>
              <a:t>Bold</a:t>
            </a:r>
            <a:endParaRPr lang="nl-NL" sz="900" b="1" kern="1200" noProof="0">
              <a:solidFill>
                <a:schemeClr val="tx1"/>
              </a:solidFill>
              <a:latin typeface="Inria Sans" pitchFamily="50" charset="0"/>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Italic</a:t>
            </a:r>
          </a:p>
        </p:txBody>
      </p:sp>
      <p:pic>
        <p:nvPicPr>
          <p:cNvPr id="32" name="Afbeelding 31" descr="Afbeelding met tekst, illustratie&#10;&#10;Automatisch gegenereerde beschrijving">
            <a:extLst>
              <a:ext uri="{FF2B5EF4-FFF2-40B4-BE49-F238E27FC236}">
                <a16:creationId xmlns:a16="http://schemas.microsoft.com/office/drawing/2014/main" id="{2747E136-7A90-714E-82BC-8D8FA1A16A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1745" y="5860434"/>
            <a:ext cx="2512753" cy="466754"/>
          </a:xfrm>
          <a:prstGeom prst="rect">
            <a:avLst/>
          </a:prstGeom>
        </p:spPr>
      </p:pic>
      <p:pic>
        <p:nvPicPr>
          <p:cNvPr id="16" name="Afbeelding 15">
            <a:extLst>
              <a:ext uri="{FF2B5EF4-FFF2-40B4-BE49-F238E27FC236}">
                <a16:creationId xmlns:a16="http://schemas.microsoft.com/office/drawing/2014/main" id="{D0E29784-BFFD-8540-BE59-646E8AF67E2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155" y="4312050"/>
            <a:ext cx="941875" cy="709451"/>
          </a:xfrm>
          <a:prstGeom prst="rect">
            <a:avLst/>
          </a:prstGeom>
        </p:spPr>
      </p:pic>
    </p:spTree>
    <p:extLst>
      <p:ext uri="{BB962C8B-B14F-4D97-AF65-F5344CB8AC3E}">
        <p14:creationId xmlns:p14="http://schemas.microsoft.com/office/powerpoint/2010/main" val="131357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750"/>
                                        <p:tgtEl>
                                          <p:spTgt spid="6">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75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uiExpand="1" build="p">
        <p:tmplLst>
          <p:tmpl lvl="1">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 lvl="2">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el slide">
    <p:spTree>
      <p:nvGrpSpPr>
        <p:cNvPr id="1" name=""/>
        <p:cNvGrpSpPr/>
        <p:nvPr/>
      </p:nvGrpSpPr>
      <p:grpSpPr>
        <a:xfrm>
          <a:off x="0" y="0"/>
          <a:ext cx="0" cy="0"/>
          <a:chOff x="0" y="0"/>
          <a:chExt cx="0" cy="0"/>
        </a:xfrm>
      </p:grpSpPr>
      <p:sp>
        <p:nvSpPr>
          <p:cNvPr id="30" name="Tijdelijke aanduiding voor afbeelding 21">
            <a:extLst>
              <a:ext uri="{FF2B5EF4-FFF2-40B4-BE49-F238E27FC236}">
                <a16:creationId xmlns:a16="http://schemas.microsoft.com/office/drawing/2014/main" id="{A0041067-CB44-1345-B100-78245A7CC945}"/>
              </a:ext>
            </a:extLst>
          </p:cNvPr>
          <p:cNvSpPr>
            <a:spLocks noGrp="1"/>
          </p:cNvSpPr>
          <p:nvPr>
            <p:ph type="pic" sz="quarter" idx="12" hasCustomPrompt="1"/>
          </p:nvPr>
        </p:nvSpPr>
        <p:spPr>
          <a:xfrm>
            <a:off x="0" y="-1"/>
            <a:ext cx="12192000" cy="5120637"/>
          </a:xfrm>
          <a:prstGeom prst="rect">
            <a:avLst/>
          </a:prstGeom>
          <a:solidFill>
            <a:schemeClr val="accent5"/>
          </a:solidFill>
        </p:spPr>
        <p:txBody>
          <a:bodyPr wrap="square" tIns="180000">
            <a:noAutofit/>
          </a:bodyPr>
          <a:lstStyle>
            <a:lvl1pPr marL="0" indent="0" algn="ctr">
              <a:buFont typeface="Arial" panose="020B0604020202020204" pitchFamily="34" charset="0"/>
              <a:buNone/>
              <a:defRPr lang="nl-NL" sz="1600">
                <a:latin typeface="Inria Sans" pitchFamily="50" charset="0"/>
              </a:defRPr>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0" y="4405744"/>
            <a:ext cx="12191999" cy="709693"/>
          </a:xfrm>
          <a:prstGeom prst="rect">
            <a:avLst/>
          </a:prstGeom>
          <a:solidFill>
            <a:srgbClr val="FFFFFF">
              <a:alpha val="50196"/>
            </a:srgbClr>
          </a:solidFill>
        </p:spPr>
        <p:txBody>
          <a:bodyPr lIns="1260000" tIns="0" rIns="540000" bIns="72000" anchor="b" anchorCtr="0"/>
          <a:lstStyle>
            <a:lvl1pPr>
              <a:defRPr sz="3600">
                <a:solidFill>
                  <a:schemeClr val="tx1"/>
                </a:solidFill>
                <a:latin typeface="Inria Sans" pitchFamily="50" charset="0"/>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6158162"/>
            <a:ext cx="3708862" cy="304800"/>
          </a:xfrm>
          <a:prstGeom prst="rect">
            <a:avLst/>
          </a:prstGeom>
        </p:spPr>
        <p:txBody>
          <a:bodyPr lIns="0"/>
          <a:lstStyle>
            <a:lvl1pPr marL="0" indent="0">
              <a:lnSpc>
                <a:spcPct val="100000"/>
              </a:lnSpc>
              <a:spcBef>
                <a:spcPts val="0"/>
              </a:spcBef>
              <a:buNone/>
              <a:defRPr sz="800" i="0">
                <a:solidFill>
                  <a:schemeClr val="tx1">
                    <a:lumMod val="50000"/>
                    <a:lumOff val="50000"/>
                  </a:schemeClr>
                </a:solidFill>
                <a:latin typeface="Inria Sans" pitchFamily="50" charset="0"/>
              </a:defRPr>
            </a:lvl1pPr>
            <a:lvl2pPr marL="457200" indent="0">
              <a:lnSpc>
                <a:spcPct val="100000"/>
              </a:lnSpc>
              <a:spcBef>
                <a:spcPts val="0"/>
              </a:spcBef>
              <a:buNone/>
              <a:defRPr sz="800" i="0">
                <a:solidFill>
                  <a:schemeClr val="tx1">
                    <a:lumMod val="50000"/>
                    <a:lumOff val="50000"/>
                  </a:schemeClr>
                </a:solidFill>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Stad, Land, Datum, jaar</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5316401"/>
            <a:ext cx="4293504" cy="798650"/>
          </a:xfrm>
          <a:prstGeom prst="rect">
            <a:avLst/>
          </a:prstGeom>
        </p:spPr>
        <p:txBody>
          <a:bodyPr lIns="0"/>
          <a:lstStyle>
            <a:lvl1pPr marL="0" indent="0">
              <a:buNone/>
              <a:defRPr sz="1600" b="1">
                <a:solidFill>
                  <a:schemeClr val="accent5"/>
                </a:solidFill>
                <a:latin typeface="Inria Sans" pitchFamily="50" charset="0"/>
              </a:defRPr>
            </a:lvl1pPr>
            <a:lvl2pPr marL="0" indent="0">
              <a:buNone/>
              <a:defRPr sz="1400">
                <a:solidFill>
                  <a:schemeClr val="tx1">
                    <a:lumMod val="50000"/>
                    <a:lumOff val="50000"/>
                  </a:schemeClr>
                </a:solidFill>
                <a:latin typeface="Inria Sans" pitchFamily="50" charset="0"/>
              </a:defRPr>
            </a:lvl2pPr>
          </a:lstStyle>
          <a:p>
            <a:pPr lvl="0"/>
            <a:r>
              <a:rPr lang="nl-NL" noProof="0"/>
              <a:t>Naam Spreker</a:t>
            </a:r>
          </a:p>
          <a:p>
            <a:pPr lvl="1"/>
            <a:r>
              <a:rPr lang="nl-NL" noProof="0"/>
              <a:t>Afdeling of Titel</a:t>
            </a:r>
          </a:p>
        </p:txBody>
      </p:sp>
      <p:cxnSp>
        <p:nvCxnSpPr>
          <p:cNvPr id="21" name="Straight Connector 20">
            <a:extLst>
              <a:ext uri="{FF2B5EF4-FFF2-40B4-BE49-F238E27FC236}">
                <a16:creationId xmlns:a16="http://schemas.microsoft.com/office/drawing/2014/main" id="{2E8B53E1-5DC7-4C35-B2BA-60925D467EB3}"/>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7991F7-D0E6-4A14-8EA5-6C2D31CA5ABF}"/>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B5CE97-262B-45D3-8CD8-A64B8AA9743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1EB6FA-8FB1-41BF-8856-FD57F0F73099}"/>
              </a:ext>
            </a:extLst>
          </p:cNvPr>
          <p:cNvSpPr txBox="1"/>
          <p:nvPr userDrawn="1"/>
        </p:nvSpPr>
        <p:spPr>
          <a:xfrm>
            <a:off x="12289355" y="3278868"/>
            <a:ext cx="3684342" cy="1338828"/>
          </a:xfrm>
          <a:prstGeom prst="rect">
            <a:avLst/>
          </a:prstGeom>
          <a:noFill/>
        </p:spPr>
        <p:txBody>
          <a:bodyPr wrap="none" rtlCol="0">
            <a:spAutoFit/>
          </a:bodyPr>
          <a:lstStyle/>
          <a:p>
            <a:r>
              <a:rPr lang="nl-NL" sz="900" noProof="0">
                <a:solidFill>
                  <a:schemeClr val="tx1"/>
                </a:solidFill>
                <a:latin typeface="Inria Sans" pitchFamily="50" charset="0"/>
              </a:rPr>
              <a:t>Fotografie</a:t>
            </a:r>
            <a:r>
              <a:rPr lang="nl-NL" sz="900">
                <a:solidFill>
                  <a:schemeClr val="tx1"/>
                </a:solidFill>
                <a:latin typeface="Inria Sans" pitchFamily="50" charset="0"/>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lik op het icoon in het centrum van het grijze vlak</a:t>
            </a:r>
            <a:r>
              <a:rPr lang="nl-NL" sz="900" b="0" kern="1200">
                <a:solidFill>
                  <a:schemeClr val="tx1"/>
                </a:solidFill>
                <a:latin typeface="Inria Sans" pitchFamily="50" charset="0"/>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Om de afbeelding te wijzigen of bij te snijden: ga naar Format&gt; </a:t>
            </a:r>
            <a:r>
              <a:rPr lang="nl-NL" sz="900" b="0" kern="1200" noProof="0" err="1">
                <a:solidFill>
                  <a:schemeClr val="tx1"/>
                </a:solidFill>
                <a:latin typeface="Inria Sans" pitchFamily="50" charset="0"/>
                <a:ea typeface="+mn-ea"/>
                <a:cs typeface="+mn-cs"/>
              </a:rPr>
              <a:t>Crop</a:t>
            </a:r>
            <a:r>
              <a:rPr lang="nl-NL" sz="900" b="0" kern="1200" noProof="0">
                <a:solidFill>
                  <a:schemeClr val="tx1"/>
                </a:solidFill>
                <a:latin typeface="Inria Sans" pitchFamily="50" charset="0"/>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Om een afbeelding weg te gooien, klik het aan en druk op </a:t>
            </a:r>
            <a:br>
              <a:rPr lang="nl-NL" sz="900" b="0" kern="1200" noProof="0">
                <a:solidFill>
                  <a:schemeClr val="tx1"/>
                </a:solidFill>
                <a:latin typeface="Inria Sans" pitchFamily="50" charset="0"/>
                <a:ea typeface="+mn-ea"/>
                <a:cs typeface="+mn-cs"/>
              </a:rPr>
            </a:br>
            <a:r>
              <a:rPr lang="nl-NL" sz="900" b="0" kern="1200" noProof="0">
                <a:solidFill>
                  <a:schemeClr val="tx1"/>
                </a:solidFill>
                <a:latin typeface="Inria Sans" pitchFamily="50" charset="0"/>
                <a:ea typeface="+mn-ea"/>
                <a:cs typeface="+mn-cs"/>
              </a:rPr>
              <a:t>back </a:t>
            </a:r>
            <a:r>
              <a:rPr lang="nl-NL" sz="900" b="0" kern="1200" noProof="0" err="1">
                <a:solidFill>
                  <a:schemeClr val="tx1"/>
                </a:solidFill>
                <a:latin typeface="Inria Sans" pitchFamily="50" charset="0"/>
                <a:ea typeface="+mn-ea"/>
                <a:cs typeface="+mn-cs"/>
              </a:rPr>
              <a:t>space</a:t>
            </a:r>
            <a:r>
              <a:rPr lang="nl-NL" sz="900" b="0" kern="1200" noProof="0">
                <a:solidFill>
                  <a:schemeClr val="tx1"/>
                </a:solidFill>
                <a:latin typeface="Inria Sans" pitchFamily="50" charset="0"/>
                <a:ea typeface="+mn-ea"/>
                <a:cs typeface="+mn-cs"/>
              </a:rPr>
              <a:t> op je toetsenbord.</a:t>
            </a:r>
          </a:p>
        </p:txBody>
      </p:sp>
      <p:sp>
        <p:nvSpPr>
          <p:cNvPr id="26" name="TextBox 25">
            <a:extLst>
              <a:ext uri="{FF2B5EF4-FFF2-40B4-BE49-F238E27FC236}">
                <a16:creationId xmlns:a16="http://schemas.microsoft.com/office/drawing/2014/main" id="{527D3E67-30D3-402F-9C51-EF05D5C6B8E0}"/>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latin typeface="Inria Sans" pitchFamily="50" charset="0"/>
              </a:rPr>
              <a:t>Heb je een andere </a:t>
            </a:r>
            <a:r>
              <a:rPr lang="nl-NL" sz="900" noProof="0" err="1">
                <a:solidFill>
                  <a:schemeClr val="tx1">
                    <a:lumMod val="50000"/>
                    <a:lumOff val="50000"/>
                  </a:schemeClr>
                </a:solidFill>
                <a:latin typeface="Inria Sans" pitchFamily="50" charset="0"/>
              </a:rPr>
              <a:t>layout</a:t>
            </a:r>
            <a:r>
              <a:rPr lang="nl-NL" sz="900" noProof="0">
                <a:solidFill>
                  <a:schemeClr val="tx1">
                    <a:lumMod val="50000"/>
                    <a:lumOff val="50000"/>
                  </a:schemeClr>
                </a:solidFill>
                <a:latin typeface="Inria Sans" pitchFamily="50" charset="0"/>
              </a:rPr>
              <a:t> nodig?</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Klik op Home tab &gt; Indeling.</a:t>
            </a:r>
          </a:p>
          <a:p>
            <a:r>
              <a:rPr lang="nl-NL" sz="900" noProof="0">
                <a:solidFill>
                  <a:schemeClr val="tx1">
                    <a:lumMod val="50000"/>
                    <a:lumOff val="50000"/>
                  </a:schemeClr>
                </a:solidFill>
                <a:latin typeface="Inria Sans" pitchFamily="50" charset="0"/>
              </a:rPr>
              <a:t>Hier kun je alle </a:t>
            </a:r>
            <a:r>
              <a:rPr lang="nl-NL" sz="900" noProof="0" err="1">
                <a:solidFill>
                  <a:schemeClr val="tx1">
                    <a:lumMod val="50000"/>
                    <a:lumOff val="50000"/>
                  </a:schemeClr>
                </a:solidFill>
                <a:latin typeface="Inria Sans" pitchFamily="50" charset="0"/>
              </a:rPr>
              <a:t>dias</a:t>
            </a:r>
            <a:r>
              <a:rPr lang="nl-NL" sz="900" noProof="0">
                <a:solidFill>
                  <a:schemeClr val="tx1">
                    <a:lumMod val="50000"/>
                    <a:lumOff val="50000"/>
                  </a:schemeClr>
                </a:solidFill>
                <a:latin typeface="Inria Sans" pitchFamily="50" charset="0"/>
              </a:rPr>
              <a:t> vinden die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zich in deze template bevinden.</a:t>
            </a:r>
          </a:p>
          <a:p>
            <a:endParaRPr lang="nl-NL" sz="900" noProof="0">
              <a:solidFill>
                <a:schemeClr val="tx1">
                  <a:lumMod val="50000"/>
                  <a:lumOff val="50000"/>
                </a:schemeClr>
              </a:solidFill>
              <a:latin typeface="Inria Sans" pitchFamily="50" charset="0"/>
            </a:endParaRPr>
          </a:p>
          <a:p>
            <a:r>
              <a:rPr lang="nl-NL" sz="900" noProof="0">
                <a:solidFill>
                  <a:schemeClr val="tx1">
                    <a:lumMod val="50000"/>
                    <a:lumOff val="50000"/>
                  </a:schemeClr>
                </a:solidFill>
                <a:latin typeface="Inria Sans" pitchFamily="50" charset="0"/>
              </a:rPr>
              <a:t>Volgt je dia niet meer de template of</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staan </a:t>
            </a:r>
            <a:r>
              <a:rPr lang="nl-NL" sz="900" noProof="0" err="1">
                <a:solidFill>
                  <a:schemeClr val="tx1">
                    <a:lumMod val="50000"/>
                    <a:lumOff val="50000"/>
                  </a:schemeClr>
                </a:solidFill>
                <a:latin typeface="Inria Sans" pitchFamily="50" charset="0"/>
              </a:rPr>
              <a:t>bullets</a:t>
            </a:r>
            <a:r>
              <a:rPr lang="nl-NL" sz="900" noProof="0">
                <a:solidFill>
                  <a:schemeClr val="tx1">
                    <a:lumMod val="50000"/>
                    <a:lumOff val="50000"/>
                  </a:schemeClr>
                </a:solidFill>
                <a:latin typeface="Inria Sans" pitchFamily="50" charset="0"/>
              </a:rPr>
              <a:t> en titels scheef t.o.v. de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Ga naar de </a:t>
            </a:r>
            <a:r>
              <a:rPr lang="nl-NL" sz="900" b="0" kern="1200" noProof="0" err="1">
                <a:solidFill>
                  <a:schemeClr val="tx1"/>
                </a:solidFill>
                <a:latin typeface="Inria Sans" pitchFamily="50" charset="0"/>
                <a:ea typeface="+mn-ea"/>
                <a:cs typeface="+mn-cs"/>
              </a:rPr>
              <a:t>minis</a:t>
            </a:r>
            <a:r>
              <a:rPr lang="nl-NL" sz="900" b="0" kern="1200" noProof="0">
                <a:solidFill>
                  <a:schemeClr val="tx1"/>
                </a:solidFill>
                <a:latin typeface="Inria Sans" pitchFamily="50" charset="0"/>
                <a:ea typeface="+mn-ea"/>
                <a:cs typeface="+mn-cs"/>
              </a:rPr>
              <a:t> aan de linkerkant. </a:t>
            </a:r>
            <a:br>
              <a:rPr lang="nl-NL" sz="900" b="0" kern="1200" noProof="0">
                <a:solidFill>
                  <a:schemeClr val="tx1"/>
                </a:solidFill>
                <a:latin typeface="Inria Sans" pitchFamily="50" charset="0"/>
                <a:ea typeface="+mn-ea"/>
                <a:cs typeface="+mn-cs"/>
              </a:rPr>
            </a:br>
            <a:r>
              <a:rPr lang="nl-NL" sz="900" b="0" kern="1200" noProof="0">
                <a:solidFill>
                  <a:schemeClr val="tx1"/>
                </a:solidFill>
                <a:latin typeface="Inria Sans" pitchFamily="50" charset="0"/>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Inria Sans" pitchFamily="50" charset="0"/>
                <a:ea typeface="+mn-ea"/>
                <a:cs typeface="+mn-cs"/>
              </a:rPr>
              <a:t>Rechtermuis klik: dia herstellen.</a:t>
            </a:r>
          </a:p>
        </p:txBody>
      </p:sp>
      <p:sp>
        <p:nvSpPr>
          <p:cNvPr id="27" name="TextBox 26">
            <a:extLst>
              <a:ext uri="{FF2B5EF4-FFF2-40B4-BE49-F238E27FC236}">
                <a16:creationId xmlns:a16="http://schemas.microsoft.com/office/drawing/2014/main" id="{20BA87FF-BE4B-4691-A917-7610BDDB1696}"/>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latin typeface="Inria Sans" pitchFamily="50" charset="0"/>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endParaRPr lang="nl-NL" sz="900" b="1" kern="1200" noProof="0">
              <a:solidFill>
                <a:schemeClr val="tx1"/>
              </a:solidFill>
              <a:latin typeface="Inria Sans" pitchFamily="50" charset="0"/>
              <a:ea typeface="+mn-ea"/>
              <a:cs typeface="+mn-cs"/>
            </a:endParaRPr>
          </a:p>
          <a:p>
            <a:endParaRPr lang="nl-NL" sz="900" b="1" noProof="0">
              <a:latin typeface="Inria Sans" pitchFamily="50" charset="0"/>
            </a:endParaRPr>
          </a:p>
          <a:p>
            <a:r>
              <a:rPr lang="nl-NL" sz="900" noProof="0">
                <a:solidFill>
                  <a:schemeClr val="tx1">
                    <a:lumMod val="50000"/>
                    <a:lumOff val="50000"/>
                  </a:schemeClr>
                </a:solidFill>
                <a:latin typeface="Inria Sans" pitchFamily="50" charset="0"/>
              </a:rPr>
              <a:t>Deze variaties van het </a:t>
            </a:r>
            <a:r>
              <a:rPr lang="nl-NL" sz="900" noProof="0" err="1">
                <a:solidFill>
                  <a:schemeClr val="tx1">
                    <a:lumMod val="50000"/>
                    <a:lumOff val="50000"/>
                  </a:schemeClr>
                </a:solidFill>
                <a:latin typeface="Inria Sans" pitchFamily="50" charset="0"/>
              </a:rPr>
              <a:t>Arial</a:t>
            </a:r>
            <a:r>
              <a:rPr lang="nl-NL" sz="900" noProof="0">
                <a:solidFill>
                  <a:schemeClr val="tx1">
                    <a:lumMod val="50000"/>
                    <a:lumOff val="50000"/>
                  </a:schemeClr>
                </a:solidFill>
                <a:latin typeface="Inria Sans" pitchFamily="50" charset="0"/>
              </a:rPr>
              <a:t> font </a:t>
            </a:r>
            <a:br>
              <a:rPr lang="nl-NL" sz="900" noProof="0">
                <a:solidFill>
                  <a:schemeClr val="tx1">
                    <a:lumMod val="50000"/>
                    <a:lumOff val="50000"/>
                  </a:schemeClr>
                </a:solidFill>
                <a:latin typeface="Inria Sans" pitchFamily="50" charset="0"/>
              </a:rPr>
            </a:br>
            <a:r>
              <a:rPr lang="nl-NL" sz="900" noProof="0">
                <a:solidFill>
                  <a:schemeClr val="tx1">
                    <a:lumMod val="50000"/>
                    <a:lumOff val="50000"/>
                  </a:schemeClr>
                </a:solidFill>
                <a:latin typeface="Inria Sans" pitchFamily="50" charset="0"/>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a:t>
            </a:r>
            <a:r>
              <a:rPr lang="nl-NL" sz="900" b="1" kern="1200" noProof="0" err="1">
                <a:solidFill>
                  <a:schemeClr val="tx1"/>
                </a:solidFill>
                <a:latin typeface="Inria Sans" pitchFamily="50" charset="0"/>
                <a:ea typeface="+mn-ea"/>
                <a:cs typeface="+mn-cs"/>
              </a:rPr>
              <a:t>Regular</a:t>
            </a:r>
            <a:endParaRPr lang="nl-NL" sz="900" b="1" kern="1200" noProof="0">
              <a:solidFill>
                <a:schemeClr val="tx1"/>
              </a:solidFill>
              <a:latin typeface="Inria Sans" pitchFamily="50" charset="0"/>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a:t>
            </a:r>
            <a:r>
              <a:rPr lang="nl-NL" sz="900" b="1" kern="1200" noProof="0" err="1">
                <a:solidFill>
                  <a:schemeClr val="tx1"/>
                </a:solidFill>
                <a:latin typeface="Inria Sans" pitchFamily="50" charset="0"/>
                <a:ea typeface="+mn-ea"/>
                <a:cs typeface="+mn-cs"/>
              </a:rPr>
              <a:t>Bold</a:t>
            </a:r>
            <a:endParaRPr lang="nl-NL" sz="900" b="1" kern="1200" noProof="0">
              <a:solidFill>
                <a:schemeClr val="tx1"/>
              </a:solidFill>
              <a:latin typeface="Inria Sans" pitchFamily="50" charset="0"/>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Inria Sans" pitchFamily="50" charset="0"/>
                <a:ea typeface="+mn-ea"/>
                <a:cs typeface="+mn-cs"/>
              </a:rPr>
              <a:t>Arial</a:t>
            </a:r>
            <a:r>
              <a:rPr lang="nl-NL" sz="900" b="1" kern="1200" noProof="0">
                <a:solidFill>
                  <a:schemeClr val="tx1"/>
                </a:solidFill>
                <a:latin typeface="Inria Sans" pitchFamily="50" charset="0"/>
                <a:ea typeface="+mn-ea"/>
                <a:cs typeface="+mn-cs"/>
              </a:rPr>
              <a:t> Italic</a:t>
            </a:r>
          </a:p>
        </p:txBody>
      </p:sp>
      <p:pic>
        <p:nvPicPr>
          <p:cNvPr id="32" name="Afbeelding 31" descr="Afbeelding met tekst, illustratie&#10;&#10;Automatisch gegenereerde beschrijving">
            <a:extLst>
              <a:ext uri="{FF2B5EF4-FFF2-40B4-BE49-F238E27FC236}">
                <a16:creationId xmlns:a16="http://schemas.microsoft.com/office/drawing/2014/main" id="{2747E136-7A90-714E-82BC-8D8FA1A16A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1745" y="5860434"/>
            <a:ext cx="2512753" cy="466754"/>
          </a:xfrm>
          <a:prstGeom prst="rect">
            <a:avLst/>
          </a:prstGeom>
        </p:spPr>
      </p:pic>
      <p:pic>
        <p:nvPicPr>
          <p:cNvPr id="16" name="Afbeelding 15">
            <a:extLst>
              <a:ext uri="{FF2B5EF4-FFF2-40B4-BE49-F238E27FC236}">
                <a16:creationId xmlns:a16="http://schemas.microsoft.com/office/drawing/2014/main" id="{DFF38B30-48FF-7C48-B062-8E8002FFF97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6724" y="4317250"/>
            <a:ext cx="943306" cy="709693"/>
          </a:xfrm>
          <a:prstGeom prst="rect">
            <a:avLst/>
          </a:prstGeom>
        </p:spPr>
      </p:pic>
    </p:spTree>
    <p:extLst>
      <p:ext uri="{BB962C8B-B14F-4D97-AF65-F5344CB8AC3E}">
        <p14:creationId xmlns:p14="http://schemas.microsoft.com/office/powerpoint/2010/main" val="199350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750"/>
                                        <p:tgtEl>
                                          <p:spTgt spid="6">
                                            <p:txEl>
                                              <p:pRg st="0" end="0"/>
                                            </p:txEl>
                                          </p:spTgt>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75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uiExpand="1" build="p">
        <p:tmplLst>
          <p:tmpl lvl="1">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 lvl="2">
            <p:tnLst>
              <p:par>
                <p:cTn presetID="10" presetClass="entr" presetSubtype="0" fill="hold" nodeType="withEffect">
                  <p:stCondLst>
                    <p:cond delay="1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met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latin typeface="Inria Sans" pitchFamily="50" charset="0"/>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79438" y="5932022"/>
            <a:ext cx="8018376" cy="304800"/>
          </a:xfrm>
          <a:prstGeom prst="rect">
            <a:avLst/>
          </a:prstGeom>
        </p:spPr>
        <p:txBody>
          <a:bodyPr lIns="0"/>
          <a:lstStyle>
            <a:lvl1pPr marL="0" indent="0">
              <a:lnSpc>
                <a:spcPct val="100000"/>
              </a:lnSpc>
              <a:spcBef>
                <a:spcPts val="0"/>
              </a:spcBef>
              <a:buNone/>
              <a:defRPr sz="800" i="1">
                <a:latin typeface="Inria Sans" pitchFamily="50" charset="0"/>
              </a:defRPr>
            </a:lvl1pPr>
            <a:lvl2pPr marL="457200" indent="0">
              <a:lnSpc>
                <a:spcPct val="100000"/>
              </a:lnSpc>
              <a:spcBef>
                <a:spcPts val="0"/>
              </a:spcBef>
              <a:buNone/>
              <a:defRPr sz="800" i="1">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latin typeface="Inria Sans" pitchFamily="50" charset="0"/>
              </a:defRPr>
            </a:lvl1pPr>
          </a:lstStyle>
          <a:p>
            <a:pPr lvl="0"/>
            <a:r>
              <a:rPr lang="nl-NL" noProof="0"/>
              <a:t>Klik hier om een subtitel te plaatsen</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3709685"/>
          </a:xfrm>
          <a:prstGeom prst="rect">
            <a:avLst/>
          </a:prstGeom>
        </p:spPr>
        <p:txBody>
          <a:bodyPr lIns="0" tIns="0" rIns="0" bIns="0"/>
          <a:lstStyle>
            <a:lvl1pPr marL="266700" indent="-266700">
              <a:buClr>
                <a:schemeClr val="accent5"/>
              </a:buClr>
              <a:defRPr sz="2000">
                <a:solidFill>
                  <a:schemeClr val="tx1"/>
                </a:solidFill>
                <a:latin typeface="Inria Sans" pitchFamily="50" charset="0"/>
              </a:defRPr>
            </a:lvl1pPr>
            <a:lvl2pPr marL="625475" indent="-266700">
              <a:buClr>
                <a:schemeClr val="accent5"/>
              </a:buClr>
              <a:buFont typeface="Calibri" panose="020F0502020204030204" pitchFamily="34" charset="0"/>
              <a:buChar char="-"/>
              <a:defRPr sz="1800">
                <a:solidFill>
                  <a:schemeClr val="tx1"/>
                </a:solidFill>
                <a:latin typeface="Inria Sans" pitchFamily="50" charset="0"/>
              </a:defRPr>
            </a:lvl2pPr>
            <a:lvl3pPr marL="890588" indent="-265113">
              <a:buClr>
                <a:schemeClr val="accent5"/>
              </a:buClr>
              <a:buFont typeface="Wingdings" panose="05000000000000000000" pitchFamily="2" charset="2"/>
              <a:buChar char="§"/>
              <a:defRPr sz="1600">
                <a:solidFill>
                  <a:schemeClr val="tx1">
                    <a:lumMod val="50000"/>
                    <a:lumOff val="50000"/>
                  </a:schemeClr>
                </a:solidFill>
                <a:latin typeface="Inria Sans" pitchFamily="50" charset="0"/>
              </a:defRPr>
            </a:lvl3pPr>
          </a:lstStyle>
          <a:p>
            <a:pPr lvl="0"/>
            <a:r>
              <a:rPr lang="nl-NL" noProof="0"/>
              <a:t>Plaats tekst</a:t>
            </a:r>
          </a:p>
          <a:p>
            <a:pPr lvl="1"/>
            <a:r>
              <a:rPr lang="nl-NL" noProof="0"/>
              <a:t>Tweede niveau</a:t>
            </a:r>
          </a:p>
          <a:p>
            <a:pPr lvl="2"/>
            <a:r>
              <a:rPr lang="nl-NL" noProof="0"/>
              <a:t>Derde niveau</a:t>
            </a:r>
          </a:p>
        </p:txBody>
      </p:sp>
    </p:spTree>
    <p:extLst>
      <p:ext uri="{BB962C8B-B14F-4D97-AF65-F5344CB8AC3E}">
        <p14:creationId xmlns:p14="http://schemas.microsoft.com/office/powerpoint/2010/main" val="269657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ullets met sub">
    <p:spTree>
      <p:nvGrpSpPr>
        <p:cNvPr id="1" name=""/>
        <p:cNvGrpSpPr/>
        <p:nvPr/>
      </p:nvGrpSpPr>
      <p:grpSpPr>
        <a:xfrm>
          <a:off x="0" y="0"/>
          <a:ext cx="0" cy="0"/>
          <a:chOff x="0" y="0"/>
          <a:chExt cx="0" cy="0"/>
        </a:xfrm>
      </p:grpSpPr>
      <p:sp>
        <p:nvSpPr>
          <p:cNvPr id="10" name="Tijdelijke aanduiding voor afbeelding 21">
            <a:extLst>
              <a:ext uri="{FF2B5EF4-FFF2-40B4-BE49-F238E27FC236}">
                <a16:creationId xmlns:a16="http://schemas.microsoft.com/office/drawing/2014/main" id="{383CDE62-B4B1-084E-86AE-F285CA645076}"/>
              </a:ext>
            </a:extLst>
          </p:cNvPr>
          <p:cNvSpPr>
            <a:spLocks noGrp="1"/>
          </p:cNvSpPr>
          <p:nvPr>
            <p:ph type="pic" sz="quarter" idx="12" hasCustomPrompt="1"/>
          </p:nvPr>
        </p:nvSpPr>
        <p:spPr>
          <a:xfrm>
            <a:off x="8129846" y="0"/>
            <a:ext cx="4075624" cy="6195390"/>
          </a:xfrm>
          <a:custGeom>
            <a:avLst/>
            <a:gdLst>
              <a:gd name="connsiteX0" fmla="*/ 0 w 4062154"/>
              <a:gd name="connsiteY0" fmla="*/ 0 h 6857999"/>
              <a:gd name="connsiteX1" fmla="*/ 4062154 w 4062154"/>
              <a:gd name="connsiteY1" fmla="*/ 0 h 6857999"/>
              <a:gd name="connsiteX2" fmla="*/ 4062154 w 4062154"/>
              <a:gd name="connsiteY2" fmla="*/ 6857999 h 6857999"/>
              <a:gd name="connsiteX3" fmla="*/ 0 w 4062154"/>
              <a:gd name="connsiteY3" fmla="*/ 6857999 h 6857999"/>
              <a:gd name="connsiteX4" fmla="*/ 0 w 4062154"/>
              <a:gd name="connsiteY4" fmla="*/ 0 h 6857999"/>
              <a:gd name="connsiteX0" fmla="*/ 0 w 4062154"/>
              <a:gd name="connsiteY0" fmla="*/ 0 h 6857999"/>
              <a:gd name="connsiteX1" fmla="*/ 4062154 w 4062154"/>
              <a:gd name="connsiteY1" fmla="*/ 0 h 6857999"/>
              <a:gd name="connsiteX2" fmla="*/ 4062154 w 4062154"/>
              <a:gd name="connsiteY2" fmla="*/ 6857999 h 6857999"/>
              <a:gd name="connsiteX3" fmla="*/ 0 w 4062154"/>
              <a:gd name="connsiteY3" fmla="*/ 6195390 h 6857999"/>
              <a:gd name="connsiteX4" fmla="*/ 0 w 4062154"/>
              <a:gd name="connsiteY4" fmla="*/ 0 h 6857999"/>
              <a:gd name="connsiteX0" fmla="*/ 0 w 4062154"/>
              <a:gd name="connsiteY0" fmla="*/ 0 h 6195390"/>
              <a:gd name="connsiteX1" fmla="*/ 4062154 w 4062154"/>
              <a:gd name="connsiteY1" fmla="*/ 0 h 6195390"/>
              <a:gd name="connsiteX2" fmla="*/ 4048902 w 4062154"/>
              <a:gd name="connsiteY2" fmla="*/ 5493025 h 6195390"/>
              <a:gd name="connsiteX3" fmla="*/ 0 w 4062154"/>
              <a:gd name="connsiteY3" fmla="*/ 6195390 h 6195390"/>
              <a:gd name="connsiteX4" fmla="*/ 0 w 4062154"/>
              <a:gd name="connsiteY4" fmla="*/ 0 h 6195390"/>
              <a:gd name="connsiteX0" fmla="*/ 0 w 4075624"/>
              <a:gd name="connsiteY0" fmla="*/ 0 h 6195390"/>
              <a:gd name="connsiteX1" fmla="*/ 4062154 w 4075624"/>
              <a:gd name="connsiteY1" fmla="*/ 0 h 6195390"/>
              <a:gd name="connsiteX2" fmla="*/ 4075028 w 4075624"/>
              <a:gd name="connsiteY2" fmla="*/ 5980705 h 6195390"/>
              <a:gd name="connsiteX3" fmla="*/ 0 w 4075624"/>
              <a:gd name="connsiteY3" fmla="*/ 6195390 h 6195390"/>
              <a:gd name="connsiteX4" fmla="*/ 0 w 4075624"/>
              <a:gd name="connsiteY4" fmla="*/ 0 h 6195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624" h="6195390">
                <a:moveTo>
                  <a:pt x="0" y="0"/>
                </a:moveTo>
                <a:lnTo>
                  <a:pt x="4062154" y="0"/>
                </a:lnTo>
                <a:cubicBezTo>
                  <a:pt x="4057737" y="1831008"/>
                  <a:pt x="4079445" y="4149697"/>
                  <a:pt x="4075028" y="5980705"/>
                </a:cubicBezTo>
                <a:lnTo>
                  <a:pt x="0" y="6195390"/>
                </a:lnTo>
                <a:lnTo>
                  <a:pt x="0" y="0"/>
                </a:lnTo>
                <a:close/>
              </a:path>
            </a:pathLst>
          </a:custGeom>
          <a:solidFill>
            <a:schemeClr val="bg1">
              <a:lumMod val="85000"/>
            </a:schemeClr>
          </a:solidFill>
        </p:spPr>
        <p:txBody>
          <a:bodyPr wrap="square" tIns="180000">
            <a:noAutofit/>
          </a:bodyPr>
          <a:lstStyle>
            <a:lvl1pPr marL="0" indent="0" algn="ctr">
              <a:buFont typeface="Arial" panose="020B0604020202020204" pitchFamily="34" charset="0"/>
              <a:buNone/>
              <a:defRPr lang="nl-NL" sz="1600">
                <a:latin typeface="Inria Sans" pitchFamily="50" charset="0"/>
              </a:defRPr>
            </a:lvl1pPr>
          </a:lstStyle>
          <a:p>
            <a:pPr marL="228600" lvl="0" indent="-228600" algn="ctr"/>
            <a:r>
              <a:rPr lang="nl-NL" noProof="0"/>
              <a:t>Klik op het icoon om een </a:t>
            </a:r>
            <a:br>
              <a:rPr lang="nl-NL" noProof="0"/>
            </a:br>
            <a:r>
              <a:rPr lang="nl-NL" noProof="0"/>
              <a:t>afbeelding te plaatsen</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7325966" cy="1180618"/>
          </a:xfrm>
          <a:prstGeom prst="rect">
            <a:avLst/>
          </a:prstGeom>
        </p:spPr>
        <p:txBody>
          <a:bodyPr lIns="0" tIns="0" rIns="0" bIns="72000" anchor="b" anchorCtr="0"/>
          <a:lstStyle>
            <a:lvl1pPr>
              <a:defRPr sz="3600">
                <a:solidFill>
                  <a:schemeClr val="tx1">
                    <a:lumMod val="50000"/>
                    <a:lumOff val="50000"/>
                  </a:schemeClr>
                </a:solidFill>
                <a:latin typeface="Inria Sans" pitchFamily="50" charset="0"/>
              </a:defRPr>
            </a:lvl1pPr>
          </a:lstStyle>
          <a:p>
            <a:r>
              <a:rPr lang="nl-NL" noProof="0"/>
              <a:t>Klik hier om een titel te plaats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75541" y="5925355"/>
            <a:ext cx="6816437" cy="304800"/>
          </a:xfrm>
          <a:prstGeom prst="rect">
            <a:avLst/>
          </a:prstGeom>
        </p:spPr>
        <p:txBody>
          <a:bodyPr lIns="0"/>
          <a:lstStyle>
            <a:lvl1pPr marL="0" indent="0">
              <a:lnSpc>
                <a:spcPct val="100000"/>
              </a:lnSpc>
              <a:spcBef>
                <a:spcPts val="0"/>
              </a:spcBef>
              <a:buNone/>
              <a:defRPr sz="800" i="1">
                <a:latin typeface="Inria Sans" pitchFamily="50" charset="0"/>
              </a:defRPr>
            </a:lvl1pPr>
            <a:lvl2pPr marL="457200" indent="0">
              <a:lnSpc>
                <a:spcPct val="100000"/>
              </a:lnSpc>
              <a:spcBef>
                <a:spcPts val="0"/>
              </a:spcBef>
              <a:buNone/>
              <a:defRPr sz="800" i="1">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7325966" cy="462986"/>
          </a:xfrm>
          <a:prstGeom prst="rect">
            <a:avLst/>
          </a:prstGeom>
        </p:spPr>
        <p:txBody>
          <a:bodyPr lIns="0"/>
          <a:lstStyle>
            <a:lvl1pPr marL="0" indent="0">
              <a:buNone/>
              <a:defRPr sz="2000" b="0">
                <a:solidFill>
                  <a:schemeClr val="tx1"/>
                </a:solidFill>
                <a:latin typeface="Inria Sans" pitchFamily="50" charset="0"/>
              </a:defRPr>
            </a:lvl1pPr>
          </a:lstStyle>
          <a:p>
            <a:pPr lvl="0"/>
            <a:r>
              <a:rPr lang="nl-NL" noProof="0"/>
              <a:t>Klik hier om een subtitel te plaatsen</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325966" cy="3709685"/>
          </a:xfrm>
          <a:prstGeom prst="rect">
            <a:avLst/>
          </a:prstGeom>
        </p:spPr>
        <p:txBody>
          <a:bodyPr lIns="0" tIns="0" rIns="0" bIns="0"/>
          <a:lstStyle>
            <a:lvl1pPr marL="266700" indent="-266700">
              <a:buClr>
                <a:schemeClr val="accent5"/>
              </a:buClr>
              <a:defRPr sz="2000">
                <a:solidFill>
                  <a:schemeClr val="tx1"/>
                </a:solidFill>
                <a:latin typeface="Inria Sans" pitchFamily="50" charset="0"/>
              </a:defRPr>
            </a:lvl1pPr>
            <a:lvl2pPr marL="625475" indent="-266700">
              <a:buClr>
                <a:schemeClr val="accent5"/>
              </a:buClr>
              <a:buFont typeface="Calibri" panose="020F0502020204030204" pitchFamily="34" charset="0"/>
              <a:buChar char="-"/>
              <a:defRPr sz="1800">
                <a:solidFill>
                  <a:schemeClr val="tx1"/>
                </a:solidFill>
                <a:latin typeface="Inria Sans" pitchFamily="50" charset="0"/>
              </a:defRPr>
            </a:lvl2pPr>
            <a:lvl3pPr marL="890588" indent="-265113">
              <a:buClr>
                <a:schemeClr val="accent5"/>
              </a:buClr>
              <a:buFont typeface="Wingdings" panose="05000000000000000000" pitchFamily="2" charset="2"/>
              <a:buChar char="§"/>
              <a:defRPr sz="1600">
                <a:solidFill>
                  <a:schemeClr val="tx1">
                    <a:lumMod val="50000"/>
                    <a:lumOff val="50000"/>
                  </a:schemeClr>
                </a:solidFill>
                <a:latin typeface="Inria Sans" pitchFamily="50" charset="0"/>
              </a:defRPr>
            </a:lvl3pPr>
          </a:lstStyle>
          <a:p>
            <a:pPr lvl="0"/>
            <a:r>
              <a:rPr lang="nl-NL" noProof="0"/>
              <a:t>Plaats tekst</a:t>
            </a:r>
          </a:p>
          <a:p>
            <a:pPr lvl="1"/>
            <a:r>
              <a:rPr lang="nl-NL" noProof="0"/>
              <a:t>Tweede niveau</a:t>
            </a:r>
          </a:p>
          <a:p>
            <a:pPr lvl="2"/>
            <a:r>
              <a:rPr lang="nl-NL" noProof="0"/>
              <a:t>Derde niveau</a:t>
            </a:r>
          </a:p>
        </p:txBody>
      </p:sp>
    </p:spTree>
    <p:extLst>
      <p:ext uri="{BB962C8B-B14F-4D97-AF65-F5344CB8AC3E}">
        <p14:creationId xmlns:p14="http://schemas.microsoft.com/office/powerpoint/2010/main" val="140724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E2B3E05-42A9-9C41-BEBF-7259464554C7}"/>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tx1">
                    <a:lumMod val="50000"/>
                    <a:lumOff val="50000"/>
                  </a:schemeClr>
                </a:solidFill>
                <a:latin typeface="Inria Sans" pitchFamily="50" charset="0"/>
              </a:defRPr>
            </a:lvl1pPr>
          </a:lstStyle>
          <a:p>
            <a:r>
              <a:rPr lang="nl-NL" noProof="0"/>
              <a:t>Klik hier om een titel te plaatsen</a:t>
            </a:r>
          </a:p>
        </p:txBody>
      </p:sp>
      <p:sp>
        <p:nvSpPr>
          <p:cNvPr id="7" name="Text Placeholder 3">
            <a:extLst>
              <a:ext uri="{FF2B5EF4-FFF2-40B4-BE49-F238E27FC236}">
                <a16:creationId xmlns:a16="http://schemas.microsoft.com/office/drawing/2014/main" id="{9D37FDA9-9847-1843-A776-5E8EACE949CD}"/>
              </a:ext>
            </a:extLst>
          </p:cNvPr>
          <p:cNvSpPr>
            <a:spLocks noGrp="1"/>
          </p:cNvSpPr>
          <p:nvPr>
            <p:ph type="body" sz="quarter" idx="10" hasCustomPrompt="1"/>
          </p:nvPr>
        </p:nvSpPr>
        <p:spPr>
          <a:xfrm>
            <a:off x="579438" y="5932526"/>
            <a:ext cx="8018376" cy="304800"/>
          </a:xfrm>
          <a:prstGeom prst="rect">
            <a:avLst/>
          </a:prstGeom>
        </p:spPr>
        <p:txBody>
          <a:bodyPr lIns="0"/>
          <a:lstStyle>
            <a:lvl1pPr marL="0" indent="0">
              <a:lnSpc>
                <a:spcPct val="100000"/>
              </a:lnSpc>
              <a:spcBef>
                <a:spcPts val="0"/>
              </a:spcBef>
              <a:buNone/>
              <a:defRPr sz="800" i="1">
                <a:latin typeface="Inria Sans" pitchFamily="50" charset="0"/>
              </a:defRPr>
            </a:lvl1pPr>
            <a:lvl2pPr marL="457200" indent="0">
              <a:lnSpc>
                <a:spcPct val="100000"/>
              </a:lnSpc>
              <a:spcBef>
                <a:spcPts val="0"/>
              </a:spcBef>
              <a:buNone/>
              <a:defRPr sz="800" i="1">
                <a:latin typeface="Inria Sans" pitchFamily="50" charset="0"/>
              </a:defRPr>
            </a:lvl2pPr>
            <a:lvl3pPr marL="914400" indent="0">
              <a:buNone/>
              <a:defRPr sz="800" i="1"/>
            </a:lvl3pPr>
            <a:lvl4pPr marL="1371600" indent="0">
              <a:buNone/>
              <a:defRPr sz="800" i="1"/>
            </a:lvl4pPr>
            <a:lvl5pPr marL="1828800" indent="0">
              <a:buNone/>
              <a:defRPr sz="800" i="1"/>
            </a:lvl5pPr>
          </a:lstStyle>
          <a:p>
            <a:pPr lvl="0"/>
            <a:r>
              <a:rPr lang="nl-NL" noProof="0"/>
              <a:t>Plaats hier voetnoten</a:t>
            </a:r>
          </a:p>
          <a:p>
            <a:pPr lvl="1"/>
            <a:endParaRPr lang="nl-NL" noProof="0"/>
          </a:p>
        </p:txBody>
      </p:sp>
      <p:sp>
        <p:nvSpPr>
          <p:cNvPr id="8" name="Text Placeholder 5">
            <a:extLst>
              <a:ext uri="{FF2B5EF4-FFF2-40B4-BE49-F238E27FC236}">
                <a16:creationId xmlns:a16="http://schemas.microsoft.com/office/drawing/2014/main" id="{6A3DE235-009D-2C4A-B0BB-44FCA918DAAC}"/>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0">
                <a:solidFill>
                  <a:schemeClr val="tx1"/>
                </a:solidFill>
                <a:latin typeface="Inria Sans" pitchFamily="50" charset="0"/>
              </a:defRPr>
            </a:lvl1pPr>
          </a:lstStyle>
          <a:p>
            <a:pPr lvl="0"/>
            <a:r>
              <a:rPr lang="nl-NL" noProof="0"/>
              <a:t>Klik hier om een subtitel te plaatsen</a:t>
            </a:r>
          </a:p>
        </p:txBody>
      </p:sp>
    </p:spTree>
    <p:extLst>
      <p:ext uri="{BB962C8B-B14F-4D97-AF65-F5344CB8AC3E}">
        <p14:creationId xmlns:p14="http://schemas.microsoft.com/office/powerpoint/2010/main" val="376097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oleObject" Target="../embeddings/oleObject1.bin"/><Relationship Id="rId2" Type="http://schemas.openxmlformats.org/officeDocument/2006/relationships/slideLayout" Target="../slideLayouts/slideLayout3.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2.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21" Type="http://schemas.openxmlformats.org/officeDocument/2006/relationships/image" Target="../media/image14.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3408369"/>
      </p:ext>
    </p:extLst>
  </p:cSld>
  <p:clrMap bg1="lt1" tx1="dk1" bg2="lt2" tx2="dk2" accent1="accent1" accent2="accent2" accent3="accent3" accent4="accent4" accent5="accent5" accent6="accent6" hlink="hlink" folHlink="folHlink"/>
  <p:sldLayoutIdLst>
    <p:sldLayoutId id="2147483662" r:id="rId1"/>
  </p:sldLayoutIdLst>
  <mc:AlternateContent xmlns:mc="http://schemas.openxmlformats.org/markup-compatibility/2006" xmlns:p14="http://schemas.microsoft.com/office/powerpoint/2010/main">
    <mc:Choice Requires="p14">
      <p:transition spd="slow" p14:dur="1500">
        <p:push dir="r"/>
      </p:transition>
    </mc:Choice>
    <mc:Fallback xmlns="">
      <p:transition spd="slow">
        <p:push dir="r"/>
      </p:transition>
    </mc:Fallback>
  </mc:AlternateConten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46FF3-D8B8-4C2B-809C-692011FDE644}"/>
              </a:ext>
            </a:extLst>
          </p:cNvPr>
          <p:cNvGraphicFramePr>
            <a:graphicFrameLocks noChangeAspect="1"/>
          </p:cNvGraphicFramePr>
          <p:nvPr userDrawn="1">
            <p:custDataLst>
              <p:tags r:id="rId16"/>
            </p:custDataLst>
            <p:extLst>
              <p:ext uri="{D42A27DB-BD31-4B8C-83A1-F6EECF244321}">
                <p14:modId xmlns:p14="http://schemas.microsoft.com/office/powerpoint/2010/main" val="171660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84" imgH="385" progId="TCLayout.ActiveDocument.1">
                  <p:embed/>
                </p:oleObj>
              </mc:Choice>
              <mc:Fallback>
                <p:oleObj name="think-cell Slide" r:id="rId17" imgW="384" imgH="385" progId="TCLayout.ActiveDocument.1">
                  <p:embed/>
                  <p:pic>
                    <p:nvPicPr>
                      <p:cNvPr id="2" name="Object 1" hidden="1">
                        <a:extLst>
                          <a:ext uri="{FF2B5EF4-FFF2-40B4-BE49-F238E27FC236}">
                            <a16:creationId xmlns:a16="http://schemas.microsoft.com/office/drawing/2014/main" id="{8AF46FF3-D8B8-4C2B-809C-692011FDE64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Vrije vorm 3">
            <a:extLst>
              <a:ext uri="{FF2B5EF4-FFF2-40B4-BE49-F238E27FC236}">
                <a16:creationId xmlns:a16="http://schemas.microsoft.com/office/drawing/2014/main" id="{063419A0-FD28-1E48-8252-66109F49CF0B}"/>
              </a:ext>
            </a:extLst>
          </p:cNvPr>
          <p:cNvSpPr/>
          <p:nvPr userDrawn="1"/>
        </p:nvSpPr>
        <p:spPr>
          <a:xfrm>
            <a:off x="-15753" y="6063082"/>
            <a:ext cx="12225628" cy="803433"/>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 name="connsiteX0" fmla="*/ 0 w 12213724"/>
              <a:gd name="connsiteY0" fmla="*/ 652711 h 888476"/>
              <a:gd name="connsiteX1" fmla="*/ 12213724 w 12213724"/>
              <a:gd name="connsiteY1" fmla="*/ 0 h 888476"/>
              <a:gd name="connsiteX2" fmla="*/ 12210549 w 12213724"/>
              <a:gd name="connsiteY2" fmla="*/ 888476 h 888476"/>
              <a:gd name="connsiteX3" fmla="*/ 372684 w 12213724"/>
              <a:gd name="connsiteY3" fmla="*/ 803320 h 888476"/>
              <a:gd name="connsiteX4" fmla="*/ 0 w 12213724"/>
              <a:gd name="connsiteY4" fmla="*/ 652711 h 888476"/>
              <a:gd name="connsiteX0" fmla="*/ 5003 w 12218727"/>
              <a:gd name="connsiteY0" fmla="*/ 652711 h 888476"/>
              <a:gd name="connsiteX1" fmla="*/ 12218727 w 12218727"/>
              <a:gd name="connsiteY1" fmla="*/ 0 h 888476"/>
              <a:gd name="connsiteX2" fmla="*/ 12215552 w 12218727"/>
              <a:gd name="connsiteY2" fmla="*/ 888476 h 888476"/>
              <a:gd name="connsiteX3" fmla="*/ 0 w 12218727"/>
              <a:gd name="connsiteY3" fmla="*/ 809946 h 888476"/>
              <a:gd name="connsiteX4" fmla="*/ 5003 w 12218727"/>
              <a:gd name="connsiteY4" fmla="*/ 652711 h 888476"/>
              <a:gd name="connsiteX0" fmla="*/ 5003 w 12480598"/>
              <a:gd name="connsiteY0" fmla="*/ 652711 h 809946"/>
              <a:gd name="connsiteX1" fmla="*/ 12218727 w 12480598"/>
              <a:gd name="connsiteY1" fmla="*/ 0 h 809946"/>
              <a:gd name="connsiteX2" fmla="*/ 12480595 w 12480598"/>
              <a:gd name="connsiteY2" fmla="*/ 378267 h 809946"/>
              <a:gd name="connsiteX3" fmla="*/ 0 w 12480598"/>
              <a:gd name="connsiteY3" fmla="*/ 809946 h 809946"/>
              <a:gd name="connsiteX4" fmla="*/ 5003 w 12480598"/>
              <a:gd name="connsiteY4" fmla="*/ 652711 h 809946"/>
              <a:gd name="connsiteX0" fmla="*/ 5003 w 12480595"/>
              <a:gd name="connsiteY0" fmla="*/ 652711 h 809946"/>
              <a:gd name="connsiteX1" fmla="*/ 12218727 w 12480595"/>
              <a:gd name="connsiteY1" fmla="*/ 0 h 809946"/>
              <a:gd name="connsiteX2" fmla="*/ 12480595 w 12480595"/>
              <a:gd name="connsiteY2" fmla="*/ 378267 h 809946"/>
              <a:gd name="connsiteX3" fmla="*/ 0 w 12480595"/>
              <a:gd name="connsiteY3" fmla="*/ 809946 h 809946"/>
              <a:gd name="connsiteX4" fmla="*/ 5003 w 12480595"/>
              <a:gd name="connsiteY4" fmla="*/ 652711 h 809946"/>
              <a:gd name="connsiteX0" fmla="*/ 5003 w 12228803"/>
              <a:gd name="connsiteY0" fmla="*/ 652711 h 809946"/>
              <a:gd name="connsiteX1" fmla="*/ 12218727 w 12228803"/>
              <a:gd name="connsiteY1" fmla="*/ 0 h 809946"/>
              <a:gd name="connsiteX2" fmla="*/ 12228803 w 12228803"/>
              <a:gd name="connsiteY2" fmla="*/ 802337 h 809946"/>
              <a:gd name="connsiteX3" fmla="*/ 0 w 12228803"/>
              <a:gd name="connsiteY3" fmla="*/ 809946 h 809946"/>
              <a:gd name="connsiteX4" fmla="*/ 5003 w 12228803"/>
              <a:gd name="connsiteY4" fmla="*/ 652711 h 809946"/>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5628" h="803433">
                <a:moveTo>
                  <a:pt x="1828" y="652711"/>
                </a:moveTo>
                <a:lnTo>
                  <a:pt x="12215552" y="0"/>
                </a:lnTo>
                <a:cubicBezTo>
                  <a:pt x="12214494" y="296159"/>
                  <a:pt x="12220060" y="830857"/>
                  <a:pt x="12225628" y="802337"/>
                </a:cubicBezTo>
                <a:lnTo>
                  <a:pt x="0" y="801802"/>
                </a:lnTo>
                <a:cubicBezTo>
                  <a:pt x="4843" y="805022"/>
                  <a:pt x="6510" y="652666"/>
                  <a:pt x="1828" y="652711"/>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520509" y="6372929"/>
            <a:ext cx="619225" cy="230832"/>
          </a:xfrm>
          <a:prstGeom prst="rect">
            <a:avLst/>
          </a:prstGeom>
        </p:spPr>
        <p:txBody>
          <a:bodyPr wrap="square" lIns="0" rIns="90000" bIns="0" anchor="b" anchorCtr="0">
            <a:spAutoFit/>
          </a:bodyPr>
          <a:lstStyle/>
          <a:p>
            <a:pPr algn="l" fontAlgn="auto">
              <a:spcBef>
                <a:spcPts val="0"/>
              </a:spcBef>
              <a:spcAft>
                <a:spcPts val="0"/>
              </a:spcAft>
              <a:defRPr/>
            </a:pPr>
            <a:fld id="{478F02DA-AB65-4DE3-8C32-C1DFFF12922F}" type="slidenum">
              <a:rPr lang="nl-NL" sz="1200" b="0" noProof="0">
                <a:solidFill>
                  <a:schemeClr val="tx1">
                    <a:lumMod val="50000"/>
                    <a:lumOff val="50000"/>
                  </a:schemeClr>
                </a:solidFill>
                <a:latin typeface="Inria Sans" pitchFamily="50" charset="0"/>
                <a:cs typeface="Arial" pitchFamily="34" charset="0"/>
              </a:rPr>
              <a:pPr algn="l" fontAlgn="auto">
                <a:spcBef>
                  <a:spcPts val="0"/>
                </a:spcBef>
                <a:spcAft>
                  <a:spcPts val="0"/>
                </a:spcAft>
                <a:defRPr/>
              </a:pPr>
              <a:t>‹nr.›</a:t>
            </a:fld>
            <a:endParaRPr lang="nl-NL" sz="1200" b="0" noProof="0">
              <a:solidFill>
                <a:schemeClr val="tx1">
                  <a:lumMod val="50000"/>
                  <a:lumOff val="50000"/>
                </a:schemeClr>
              </a:solidFill>
              <a:latin typeface="Inria Sans" pitchFamily="50" charset="0"/>
              <a:cs typeface="Arial" pitchFamily="34" charset="0"/>
            </a:endParaRPr>
          </a:p>
        </p:txBody>
      </p:sp>
      <p:cxnSp>
        <p:nvCxnSpPr>
          <p:cNvPr id="12" name="Straight Connector 11">
            <a:extLst>
              <a:ext uri="{FF2B5EF4-FFF2-40B4-BE49-F238E27FC236}">
                <a16:creationId xmlns:a16="http://schemas.microsoft.com/office/drawing/2014/main" id="{F0BC8041-24A1-4470-90C1-A7C1A78596D2}"/>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E4E10D8-46F6-4702-8413-A14BC54AB656}"/>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A460933-4216-4E7D-8B4F-E2BF4E80672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9721E98-C429-4D5B-9A70-F460CB527562}"/>
              </a:ext>
            </a:extLst>
          </p:cNvPr>
          <p:cNvSpPr txBox="1"/>
          <p:nvPr userDrawn="1"/>
        </p:nvSpPr>
        <p:spPr>
          <a:xfrm>
            <a:off x="12289355" y="3278868"/>
            <a:ext cx="3831818" cy="1338828"/>
          </a:xfrm>
          <a:prstGeom prst="rect">
            <a:avLst/>
          </a:prstGeom>
          <a:noFill/>
        </p:spPr>
        <p:txBody>
          <a:bodyPr wrap="none" rtlCol="0">
            <a:spAutoFit/>
          </a:bodyPr>
          <a:lstStyle/>
          <a:p>
            <a:r>
              <a:rPr lang="nl-NL" sz="900" noProof="0">
                <a:solidFill>
                  <a:schemeClr val="tx1"/>
                </a:solidFill>
              </a:rPr>
              <a:t>Fotografie</a:t>
            </a:r>
            <a:r>
              <a:rPr lang="nl-NL" sz="900">
                <a:solidFill>
                  <a:schemeClr val="tx1"/>
                </a:solidFill>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 het icoon in het centrum van het grijze vlak</a:t>
            </a:r>
            <a:r>
              <a:rPr lang="nl-NL" sz="900" b="0" kern="1200">
                <a:solidFill>
                  <a:schemeClr val="tx1"/>
                </a:solidFill>
                <a:latin typeface="+mn-lt"/>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de afbeelding te wijzigen of bij te snijden: ga naar Format&gt; </a:t>
            </a:r>
            <a:r>
              <a:rPr lang="nl-NL" sz="900" b="0" kern="1200" noProof="0" err="1">
                <a:solidFill>
                  <a:schemeClr val="tx1"/>
                </a:solidFill>
                <a:latin typeface="+mn-lt"/>
                <a:ea typeface="+mn-ea"/>
                <a:cs typeface="+mn-cs"/>
              </a:rPr>
              <a:t>Crop</a:t>
            </a:r>
            <a:r>
              <a:rPr lang="nl-NL" sz="900" b="0" kern="1200" noProof="0">
                <a:solidFill>
                  <a:schemeClr val="tx1"/>
                </a:solidFill>
                <a:latin typeface="+mn-lt"/>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een afbeelding weg te gooien, klik het aan en druk op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back </a:t>
            </a:r>
            <a:r>
              <a:rPr lang="nl-NL" sz="900" b="0" kern="1200" noProof="0" err="1">
                <a:solidFill>
                  <a:schemeClr val="tx1"/>
                </a:solidFill>
                <a:latin typeface="+mn-lt"/>
                <a:ea typeface="+mn-ea"/>
                <a:cs typeface="+mn-cs"/>
              </a:rPr>
              <a:t>space</a:t>
            </a:r>
            <a:r>
              <a:rPr lang="nl-NL" sz="900" b="0" kern="1200" noProof="0">
                <a:solidFill>
                  <a:schemeClr val="tx1"/>
                </a:solidFill>
                <a:latin typeface="+mn-lt"/>
                <a:ea typeface="+mn-ea"/>
                <a:cs typeface="+mn-cs"/>
              </a:rPr>
              <a:t> op je toetsenbord.</a:t>
            </a:r>
          </a:p>
        </p:txBody>
      </p:sp>
      <p:sp>
        <p:nvSpPr>
          <p:cNvPr id="24" name="TextBox 23">
            <a:extLst>
              <a:ext uri="{FF2B5EF4-FFF2-40B4-BE49-F238E27FC236}">
                <a16:creationId xmlns:a16="http://schemas.microsoft.com/office/drawing/2014/main" id="{12C3B9E1-FB8B-45B8-AC0C-120E952A9E9C}"/>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rPr>
              <a:t>Heb je een andere </a:t>
            </a:r>
            <a:r>
              <a:rPr lang="nl-NL" sz="900" noProof="0" err="1">
                <a:solidFill>
                  <a:schemeClr val="tx1">
                    <a:lumMod val="50000"/>
                    <a:lumOff val="50000"/>
                  </a:schemeClr>
                </a:solidFill>
              </a:rPr>
              <a:t>layout</a:t>
            </a:r>
            <a:r>
              <a:rPr lang="nl-NL" sz="900" noProof="0">
                <a:solidFill>
                  <a:schemeClr val="tx1">
                    <a:lumMod val="50000"/>
                    <a:lumOff val="50000"/>
                  </a:schemeClr>
                </a:solidFill>
              </a:rPr>
              <a:t> nodig?</a:t>
            </a:r>
            <a:br>
              <a:rPr lang="nl-NL" sz="900" noProof="0">
                <a:solidFill>
                  <a:schemeClr val="tx1">
                    <a:lumMod val="50000"/>
                    <a:lumOff val="50000"/>
                  </a:schemeClr>
                </a:solidFill>
              </a:rPr>
            </a:br>
            <a:r>
              <a:rPr lang="nl-NL" sz="900" noProof="0">
                <a:solidFill>
                  <a:schemeClr val="tx1">
                    <a:lumMod val="50000"/>
                    <a:lumOff val="50000"/>
                  </a:schemeClr>
                </a:solidFill>
              </a:rPr>
              <a:t>Klik op Home tab &gt; Indeling.</a:t>
            </a:r>
          </a:p>
          <a:p>
            <a:r>
              <a:rPr lang="nl-NL" sz="900" noProof="0">
                <a:solidFill>
                  <a:schemeClr val="tx1">
                    <a:lumMod val="50000"/>
                    <a:lumOff val="50000"/>
                  </a:schemeClr>
                </a:solidFill>
              </a:rPr>
              <a:t>Hier kun je alle </a:t>
            </a:r>
            <a:r>
              <a:rPr lang="nl-NL" sz="900" noProof="0" err="1">
                <a:solidFill>
                  <a:schemeClr val="tx1">
                    <a:lumMod val="50000"/>
                    <a:lumOff val="50000"/>
                  </a:schemeClr>
                </a:solidFill>
              </a:rPr>
              <a:t>dias</a:t>
            </a:r>
            <a:r>
              <a:rPr lang="nl-NL" sz="900" noProof="0">
                <a:solidFill>
                  <a:schemeClr val="tx1">
                    <a:lumMod val="50000"/>
                    <a:lumOff val="50000"/>
                  </a:schemeClr>
                </a:solidFill>
              </a:rPr>
              <a:t> vinden die </a:t>
            </a:r>
            <a:br>
              <a:rPr lang="nl-NL" sz="900" noProof="0">
                <a:solidFill>
                  <a:schemeClr val="tx1">
                    <a:lumMod val="50000"/>
                    <a:lumOff val="50000"/>
                  </a:schemeClr>
                </a:solidFill>
              </a:rPr>
            </a:br>
            <a:r>
              <a:rPr lang="nl-NL" sz="900" noProof="0">
                <a:solidFill>
                  <a:schemeClr val="tx1">
                    <a:lumMod val="50000"/>
                    <a:lumOff val="50000"/>
                  </a:schemeClr>
                </a:solidFill>
              </a:rPr>
              <a:t>zich in deze template bevinden.</a:t>
            </a:r>
          </a:p>
          <a:p>
            <a:endParaRPr lang="nl-NL" sz="900" noProof="0">
              <a:solidFill>
                <a:schemeClr val="tx1">
                  <a:lumMod val="50000"/>
                  <a:lumOff val="50000"/>
                </a:schemeClr>
              </a:solidFill>
            </a:endParaRPr>
          </a:p>
          <a:p>
            <a:r>
              <a:rPr lang="nl-NL" sz="900" noProof="0">
                <a:solidFill>
                  <a:schemeClr val="tx1">
                    <a:lumMod val="50000"/>
                    <a:lumOff val="50000"/>
                  </a:schemeClr>
                </a:solidFill>
              </a:rPr>
              <a:t>Volgt je dia niet meer de template of</a:t>
            </a:r>
            <a:br>
              <a:rPr lang="nl-NL" sz="900" noProof="0">
                <a:solidFill>
                  <a:schemeClr val="tx1">
                    <a:lumMod val="50000"/>
                    <a:lumOff val="50000"/>
                  </a:schemeClr>
                </a:solidFill>
              </a:rPr>
            </a:br>
            <a:r>
              <a:rPr lang="nl-NL" sz="900" noProof="0">
                <a:solidFill>
                  <a:schemeClr val="tx1">
                    <a:lumMod val="50000"/>
                    <a:lumOff val="50000"/>
                  </a:schemeClr>
                </a:solidFill>
              </a:rPr>
              <a:t>staan </a:t>
            </a:r>
            <a:r>
              <a:rPr lang="nl-NL" sz="900" noProof="0" err="1">
                <a:solidFill>
                  <a:schemeClr val="tx1">
                    <a:lumMod val="50000"/>
                    <a:lumOff val="50000"/>
                  </a:schemeClr>
                </a:solidFill>
              </a:rPr>
              <a:t>bullets</a:t>
            </a:r>
            <a:r>
              <a:rPr lang="nl-NL" sz="900" noProof="0">
                <a:solidFill>
                  <a:schemeClr val="tx1">
                    <a:lumMod val="50000"/>
                    <a:lumOff val="50000"/>
                  </a:schemeClr>
                </a:solidFill>
              </a:rPr>
              <a:t> en titels scheef t.o.v. de </a:t>
            </a:r>
            <a:br>
              <a:rPr lang="nl-NL" sz="900" noProof="0">
                <a:solidFill>
                  <a:schemeClr val="tx1">
                    <a:lumMod val="50000"/>
                    <a:lumOff val="50000"/>
                  </a:schemeClr>
                </a:solidFill>
              </a:rPr>
            </a:br>
            <a:r>
              <a:rPr lang="nl-NL" sz="900" noProof="0">
                <a:solidFill>
                  <a:schemeClr val="tx1">
                    <a:lumMod val="50000"/>
                    <a:lumOff val="50000"/>
                  </a:schemeClr>
                </a:solidFill>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Ga naar de </a:t>
            </a:r>
            <a:r>
              <a:rPr lang="nl-NL" sz="900" b="0" kern="1200" noProof="0" err="1">
                <a:solidFill>
                  <a:schemeClr val="tx1"/>
                </a:solidFill>
                <a:latin typeface="+mn-lt"/>
                <a:ea typeface="+mn-ea"/>
                <a:cs typeface="+mn-cs"/>
              </a:rPr>
              <a:t>minis</a:t>
            </a:r>
            <a:r>
              <a:rPr lang="nl-NL" sz="900" b="0" kern="1200" noProof="0">
                <a:solidFill>
                  <a:schemeClr val="tx1"/>
                </a:solidFill>
                <a:latin typeface="+mn-lt"/>
                <a:ea typeface="+mn-ea"/>
                <a:cs typeface="+mn-cs"/>
              </a:rPr>
              <a:t> aan de linkerkant.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Rechtermuis klik: dia herstellen.</a:t>
            </a:r>
          </a:p>
        </p:txBody>
      </p:sp>
      <p:sp>
        <p:nvSpPr>
          <p:cNvPr id="26" name="TextBox 25">
            <a:extLst>
              <a:ext uri="{FF2B5EF4-FFF2-40B4-BE49-F238E27FC236}">
                <a16:creationId xmlns:a16="http://schemas.microsoft.com/office/drawing/2014/main" id="{7EB69CA6-A6D7-41C3-A0E9-48051A0FB4C5}"/>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endParaRPr lang="nl-NL" sz="900" b="1" kern="1200" noProof="0">
              <a:solidFill>
                <a:schemeClr val="tx1"/>
              </a:solidFill>
              <a:latin typeface="+mn-lt"/>
              <a:ea typeface="+mn-ea"/>
              <a:cs typeface="+mn-cs"/>
            </a:endParaRPr>
          </a:p>
          <a:p>
            <a:endParaRPr lang="nl-NL" sz="900" b="1" noProof="0"/>
          </a:p>
          <a:p>
            <a:r>
              <a:rPr lang="nl-NL" sz="900" noProof="0">
                <a:solidFill>
                  <a:schemeClr val="tx1">
                    <a:lumMod val="50000"/>
                    <a:lumOff val="50000"/>
                  </a:schemeClr>
                </a:solidFill>
              </a:rPr>
              <a:t>Deze variaties van het </a:t>
            </a:r>
            <a:r>
              <a:rPr lang="nl-NL" sz="900" noProof="0" err="1">
                <a:solidFill>
                  <a:schemeClr val="tx1">
                    <a:lumMod val="50000"/>
                    <a:lumOff val="50000"/>
                  </a:schemeClr>
                </a:solidFill>
              </a:rPr>
              <a:t>Arial</a:t>
            </a:r>
            <a:r>
              <a:rPr lang="nl-NL" sz="900" noProof="0">
                <a:solidFill>
                  <a:schemeClr val="tx1">
                    <a:lumMod val="50000"/>
                    <a:lumOff val="50000"/>
                  </a:schemeClr>
                </a:solidFill>
              </a:rPr>
              <a:t> font </a:t>
            </a:r>
            <a:br>
              <a:rPr lang="nl-NL" sz="900" noProof="0">
                <a:solidFill>
                  <a:schemeClr val="tx1">
                    <a:lumMod val="50000"/>
                    <a:lumOff val="50000"/>
                  </a:schemeClr>
                </a:solidFill>
              </a:rPr>
            </a:br>
            <a:r>
              <a:rPr lang="nl-NL" sz="900" noProof="0">
                <a:solidFill>
                  <a:schemeClr val="tx1">
                    <a:lumMod val="50000"/>
                    <a:lumOff val="50000"/>
                  </a:schemeClr>
                </a:solidFill>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Regular</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Bold</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Italic</a:t>
            </a:r>
          </a:p>
        </p:txBody>
      </p:sp>
      <p:pic>
        <p:nvPicPr>
          <p:cNvPr id="9" name="Afbeelding 8" descr="Afbeelding met pijl&#10;&#10;Automatisch gegenereerde beschrijving">
            <a:extLst>
              <a:ext uri="{FF2B5EF4-FFF2-40B4-BE49-F238E27FC236}">
                <a16:creationId xmlns:a16="http://schemas.microsoft.com/office/drawing/2014/main" id="{29B02085-9452-8E4C-97F8-E624FE4B0AB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1053905" y="5857279"/>
            <a:ext cx="583107" cy="439215"/>
          </a:xfrm>
          <a:prstGeom prst="rect">
            <a:avLst/>
          </a:prstGeom>
        </p:spPr>
      </p:pic>
      <p:pic>
        <p:nvPicPr>
          <p:cNvPr id="19" name="Afbeelding 18" descr="Afbeelding met illustratie&#10;&#10;Automatisch gegenereerde beschrijving">
            <a:extLst>
              <a:ext uri="{FF2B5EF4-FFF2-40B4-BE49-F238E27FC236}">
                <a16:creationId xmlns:a16="http://schemas.microsoft.com/office/drawing/2014/main" id="{82614014-3DAB-4745-8F40-1D0049DD8A00}"/>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325291" y="6422106"/>
            <a:ext cx="1346200" cy="250062"/>
          </a:xfrm>
          <a:prstGeom prst="rect">
            <a:avLst/>
          </a:prstGeom>
        </p:spPr>
      </p:pic>
    </p:spTree>
    <p:extLst>
      <p:ext uri="{BB962C8B-B14F-4D97-AF65-F5344CB8AC3E}">
        <p14:creationId xmlns:p14="http://schemas.microsoft.com/office/powerpoint/2010/main" val="380472472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192284-D7EB-4F98-9A6B-0FC8F5219F03}"/>
              </a:ext>
            </a:extLst>
          </p:cNvPr>
          <p:cNvGraphicFramePr>
            <a:graphicFrameLocks noChangeAspect="1"/>
          </p:cNvGraphicFramePr>
          <p:nvPr userDrawn="1">
            <p:custDataLst>
              <p:tags r:id="rId19"/>
            </p:custDataLst>
            <p:extLst>
              <p:ext uri="{D42A27DB-BD31-4B8C-83A1-F6EECF244321}">
                <p14:modId xmlns:p14="http://schemas.microsoft.com/office/powerpoint/2010/main" val="40312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1" progId="TCLayout.ActiveDocument.1">
                  <p:embed/>
                </p:oleObj>
              </mc:Choice>
              <mc:Fallback>
                <p:oleObj name="think-cell Slide" r:id="rId20" imgW="592" imgH="591" progId="TCLayout.ActiveDocument.1">
                  <p:embed/>
                  <p:pic>
                    <p:nvPicPr>
                      <p:cNvPr id="2" name="Object 1" hidden="1">
                        <a:extLst>
                          <a:ext uri="{FF2B5EF4-FFF2-40B4-BE49-F238E27FC236}">
                            <a16:creationId xmlns:a16="http://schemas.microsoft.com/office/drawing/2014/main" id="{18192284-D7EB-4F98-9A6B-0FC8F5219F03}"/>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Vrije vorm 3">
            <a:extLst>
              <a:ext uri="{FF2B5EF4-FFF2-40B4-BE49-F238E27FC236}">
                <a16:creationId xmlns:a16="http://schemas.microsoft.com/office/drawing/2014/main" id="{063419A0-FD28-1E48-8252-66109F49CF0B}"/>
              </a:ext>
            </a:extLst>
          </p:cNvPr>
          <p:cNvSpPr/>
          <p:nvPr userDrawn="1"/>
        </p:nvSpPr>
        <p:spPr>
          <a:xfrm>
            <a:off x="-15753" y="6063082"/>
            <a:ext cx="12225628" cy="803433"/>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 name="connsiteX0" fmla="*/ 0 w 12213724"/>
              <a:gd name="connsiteY0" fmla="*/ 652711 h 888476"/>
              <a:gd name="connsiteX1" fmla="*/ 12213724 w 12213724"/>
              <a:gd name="connsiteY1" fmla="*/ 0 h 888476"/>
              <a:gd name="connsiteX2" fmla="*/ 12210549 w 12213724"/>
              <a:gd name="connsiteY2" fmla="*/ 888476 h 888476"/>
              <a:gd name="connsiteX3" fmla="*/ 372684 w 12213724"/>
              <a:gd name="connsiteY3" fmla="*/ 803320 h 888476"/>
              <a:gd name="connsiteX4" fmla="*/ 0 w 12213724"/>
              <a:gd name="connsiteY4" fmla="*/ 652711 h 888476"/>
              <a:gd name="connsiteX0" fmla="*/ 5003 w 12218727"/>
              <a:gd name="connsiteY0" fmla="*/ 652711 h 888476"/>
              <a:gd name="connsiteX1" fmla="*/ 12218727 w 12218727"/>
              <a:gd name="connsiteY1" fmla="*/ 0 h 888476"/>
              <a:gd name="connsiteX2" fmla="*/ 12215552 w 12218727"/>
              <a:gd name="connsiteY2" fmla="*/ 888476 h 888476"/>
              <a:gd name="connsiteX3" fmla="*/ 0 w 12218727"/>
              <a:gd name="connsiteY3" fmla="*/ 809946 h 888476"/>
              <a:gd name="connsiteX4" fmla="*/ 5003 w 12218727"/>
              <a:gd name="connsiteY4" fmla="*/ 652711 h 888476"/>
              <a:gd name="connsiteX0" fmla="*/ 5003 w 12480598"/>
              <a:gd name="connsiteY0" fmla="*/ 652711 h 809946"/>
              <a:gd name="connsiteX1" fmla="*/ 12218727 w 12480598"/>
              <a:gd name="connsiteY1" fmla="*/ 0 h 809946"/>
              <a:gd name="connsiteX2" fmla="*/ 12480595 w 12480598"/>
              <a:gd name="connsiteY2" fmla="*/ 378267 h 809946"/>
              <a:gd name="connsiteX3" fmla="*/ 0 w 12480598"/>
              <a:gd name="connsiteY3" fmla="*/ 809946 h 809946"/>
              <a:gd name="connsiteX4" fmla="*/ 5003 w 12480598"/>
              <a:gd name="connsiteY4" fmla="*/ 652711 h 809946"/>
              <a:gd name="connsiteX0" fmla="*/ 5003 w 12480595"/>
              <a:gd name="connsiteY0" fmla="*/ 652711 h 809946"/>
              <a:gd name="connsiteX1" fmla="*/ 12218727 w 12480595"/>
              <a:gd name="connsiteY1" fmla="*/ 0 h 809946"/>
              <a:gd name="connsiteX2" fmla="*/ 12480595 w 12480595"/>
              <a:gd name="connsiteY2" fmla="*/ 378267 h 809946"/>
              <a:gd name="connsiteX3" fmla="*/ 0 w 12480595"/>
              <a:gd name="connsiteY3" fmla="*/ 809946 h 809946"/>
              <a:gd name="connsiteX4" fmla="*/ 5003 w 12480595"/>
              <a:gd name="connsiteY4" fmla="*/ 652711 h 809946"/>
              <a:gd name="connsiteX0" fmla="*/ 5003 w 12228803"/>
              <a:gd name="connsiteY0" fmla="*/ 652711 h 809946"/>
              <a:gd name="connsiteX1" fmla="*/ 12218727 w 12228803"/>
              <a:gd name="connsiteY1" fmla="*/ 0 h 809946"/>
              <a:gd name="connsiteX2" fmla="*/ 12228803 w 12228803"/>
              <a:gd name="connsiteY2" fmla="*/ 802337 h 809946"/>
              <a:gd name="connsiteX3" fmla="*/ 0 w 12228803"/>
              <a:gd name="connsiteY3" fmla="*/ 809946 h 809946"/>
              <a:gd name="connsiteX4" fmla="*/ 5003 w 12228803"/>
              <a:gd name="connsiteY4" fmla="*/ 652711 h 809946"/>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5628" h="803433">
                <a:moveTo>
                  <a:pt x="1828" y="652711"/>
                </a:moveTo>
                <a:lnTo>
                  <a:pt x="12215552" y="0"/>
                </a:lnTo>
                <a:cubicBezTo>
                  <a:pt x="12214494" y="296159"/>
                  <a:pt x="12220060" y="830857"/>
                  <a:pt x="12225628" y="802337"/>
                </a:cubicBezTo>
                <a:lnTo>
                  <a:pt x="0" y="801802"/>
                </a:lnTo>
                <a:cubicBezTo>
                  <a:pt x="4843" y="805022"/>
                  <a:pt x="6510" y="652666"/>
                  <a:pt x="1828" y="652711"/>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520509" y="6372929"/>
            <a:ext cx="619225" cy="230832"/>
          </a:xfrm>
          <a:prstGeom prst="rect">
            <a:avLst/>
          </a:prstGeom>
        </p:spPr>
        <p:txBody>
          <a:bodyPr wrap="square" lIns="0" rIns="90000" bIns="0" anchor="b" anchorCtr="0">
            <a:spAutoFit/>
          </a:bodyPr>
          <a:lstStyle/>
          <a:p>
            <a:pPr algn="l" fontAlgn="auto">
              <a:spcBef>
                <a:spcPts val="0"/>
              </a:spcBef>
              <a:spcAft>
                <a:spcPts val="0"/>
              </a:spcAft>
              <a:defRPr/>
            </a:pPr>
            <a:fld id="{478F02DA-AB65-4DE3-8C32-C1DFFF12922F}" type="slidenum">
              <a:rPr lang="nl-NL" sz="1200" b="0" noProof="0">
                <a:solidFill>
                  <a:schemeClr val="tx1">
                    <a:lumMod val="50000"/>
                    <a:lumOff val="50000"/>
                  </a:schemeClr>
                </a:solidFill>
                <a:cs typeface="Arial" pitchFamily="34" charset="0"/>
              </a:rPr>
              <a:pPr algn="l" fontAlgn="auto">
                <a:spcBef>
                  <a:spcPts val="0"/>
                </a:spcBef>
                <a:spcAft>
                  <a:spcPts val="0"/>
                </a:spcAft>
                <a:defRPr/>
              </a:pPr>
              <a:t>‹nr.›</a:t>
            </a:fld>
            <a:endParaRPr lang="nl-NL" sz="1200" b="0" noProof="0">
              <a:solidFill>
                <a:schemeClr val="tx1">
                  <a:lumMod val="50000"/>
                  <a:lumOff val="50000"/>
                </a:schemeClr>
              </a:solidFill>
              <a:cs typeface="Arial" pitchFamily="34" charset="0"/>
            </a:endParaRPr>
          </a:p>
        </p:txBody>
      </p:sp>
      <p:cxnSp>
        <p:nvCxnSpPr>
          <p:cNvPr id="12" name="Straight Connector 11">
            <a:extLst>
              <a:ext uri="{FF2B5EF4-FFF2-40B4-BE49-F238E27FC236}">
                <a16:creationId xmlns:a16="http://schemas.microsoft.com/office/drawing/2014/main" id="{F0BC8041-24A1-4470-90C1-A7C1A78596D2}"/>
              </a:ext>
            </a:extLst>
          </p:cNvPr>
          <p:cNvCxnSpPr/>
          <p:nvPr userDrawn="1"/>
        </p:nvCxnSpPr>
        <p:spPr>
          <a:xfrm flipH="1">
            <a:off x="-1814512"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E4E10D8-46F6-4702-8413-A14BC54AB656}"/>
              </a:ext>
            </a:extLst>
          </p:cNvPr>
          <p:cNvCxnSpPr/>
          <p:nvPr userDrawn="1"/>
        </p:nvCxnSpPr>
        <p:spPr>
          <a:xfrm flipH="1">
            <a:off x="12289356" y="9525"/>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A460933-4216-4E7D-8B4F-E2BF4E806725}"/>
              </a:ext>
            </a:extLst>
          </p:cNvPr>
          <p:cNvCxnSpPr/>
          <p:nvPr userDrawn="1"/>
        </p:nvCxnSpPr>
        <p:spPr>
          <a:xfrm flipH="1">
            <a:off x="12289356" y="3202668"/>
            <a:ext cx="175021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9721E98-C429-4D5B-9A70-F460CB527562}"/>
              </a:ext>
            </a:extLst>
          </p:cNvPr>
          <p:cNvSpPr txBox="1"/>
          <p:nvPr userDrawn="1"/>
        </p:nvSpPr>
        <p:spPr>
          <a:xfrm>
            <a:off x="12289355" y="3278868"/>
            <a:ext cx="3831818" cy="1338828"/>
          </a:xfrm>
          <a:prstGeom prst="rect">
            <a:avLst/>
          </a:prstGeom>
          <a:noFill/>
        </p:spPr>
        <p:txBody>
          <a:bodyPr wrap="none" rtlCol="0">
            <a:spAutoFit/>
          </a:bodyPr>
          <a:lstStyle/>
          <a:p>
            <a:r>
              <a:rPr lang="nl-NL" sz="900" noProof="0">
                <a:solidFill>
                  <a:schemeClr val="tx1"/>
                </a:solidFill>
              </a:rPr>
              <a:t>Fotografie</a:t>
            </a:r>
            <a:r>
              <a:rPr lang="nl-NL" sz="900">
                <a:solidFill>
                  <a:schemeClr val="tx1"/>
                </a:solidFill>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 het icoon in het centrum van het grijze vlak</a:t>
            </a:r>
            <a:r>
              <a:rPr lang="nl-NL" sz="900" b="0" kern="1200">
                <a:solidFill>
                  <a:schemeClr val="tx1"/>
                </a:solidFill>
                <a:latin typeface="+mn-lt"/>
                <a:ea typeface="+mn-ea"/>
                <a:cs typeface="+mn-cs"/>
              </a:rPr>
              <a:t>.</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ies een bestand uit je folders.</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Klik ‘Open’ om een foto in te voe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De afbeelding zal automatisch in het vlak geplaatst word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de afbeelding te wijzigen of bij te snijden: ga naar Format&gt; Crop.</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Foto veranderen: rechtermuistoets en klik op ‘Afbeelding wijzig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Om een afbeelding weg te gooien, klik het aan en druk op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back space op je toetsenbord.</a:t>
            </a:r>
          </a:p>
        </p:txBody>
      </p:sp>
      <p:sp>
        <p:nvSpPr>
          <p:cNvPr id="24" name="TextBox 23">
            <a:extLst>
              <a:ext uri="{FF2B5EF4-FFF2-40B4-BE49-F238E27FC236}">
                <a16:creationId xmlns:a16="http://schemas.microsoft.com/office/drawing/2014/main" id="{12C3B9E1-FB8B-45B8-AC0C-120E952A9E9C}"/>
              </a:ext>
            </a:extLst>
          </p:cNvPr>
          <p:cNvSpPr txBox="1"/>
          <p:nvPr userDrawn="1"/>
        </p:nvSpPr>
        <p:spPr>
          <a:xfrm>
            <a:off x="12289356" y="85726"/>
            <a:ext cx="2193549" cy="1615827"/>
          </a:xfrm>
          <a:prstGeom prst="rect">
            <a:avLst/>
          </a:prstGeom>
          <a:noFill/>
        </p:spPr>
        <p:txBody>
          <a:bodyPr wrap="none" rtlCol="0">
            <a:spAutoFit/>
          </a:bodyPr>
          <a:lstStyle/>
          <a:p>
            <a:r>
              <a:rPr lang="nl-NL" sz="900" noProof="0">
                <a:solidFill>
                  <a:schemeClr val="tx1">
                    <a:lumMod val="50000"/>
                    <a:lumOff val="50000"/>
                  </a:schemeClr>
                </a:solidFill>
              </a:rPr>
              <a:t>Heb je een andere </a:t>
            </a:r>
            <a:r>
              <a:rPr lang="nl-NL" sz="900" noProof="0" err="1">
                <a:solidFill>
                  <a:schemeClr val="tx1">
                    <a:lumMod val="50000"/>
                    <a:lumOff val="50000"/>
                  </a:schemeClr>
                </a:solidFill>
              </a:rPr>
              <a:t>layout</a:t>
            </a:r>
            <a:r>
              <a:rPr lang="nl-NL" sz="900" noProof="0">
                <a:solidFill>
                  <a:schemeClr val="tx1">
                    <a:lumMod val="50000"/>
                    <a:lumOff val="50000"/>
                  </a:schemeClr>
                </a:solidFill>
              </a:rPr>
              <a:t> nodig?</a:t>
            </a:r>
            <a:br>
              <a:rPr lang="nl-NL" sz="900" noProof="0">
                <a:solidFill>
                  <a:schemeClr val="tx1">
                    <a:lumMod val="50000"/>
                    <a:lumOff val="50000"/>
                  </a:schemeClr>
                </a:solidFill>
              </a:rPr>
            </a:br>
            <a:r>
              <a:rPr lang="nl-NL" sz="900" noProof="0">
                <a:solidFill>
                  <a:schemeClr val="tx1">
                    <a:lumMod val="50000"/>
                    <a:lumOff val="50000"/>
                  </a:schemeClr>
                </a:solidFill>
              </a:rPr>
              <a:t>Klik op Home tab &gt; Indeling.</a:t>
            </a:r>
          </a:p>
          <a:p>
            <a:r>
              <a:rPr lang="nl-NL" sz="900" noProof="0">
                <a:solidFill>
                  <a:schemeClr val="tx1">
                    <a:lumMod val="50000"/>
                    <a:lumOff val="50000"/>
                  </a:schemeClr>
                </a:solidFill>
              </a:rPr>
              <a:t>Hier kun je alle dia’s vinden die </a:t>
            </a:r>
            <a:br>
              <a:rPr lang="nl-NL" sz="900" noProof="0">
                <a:solidFill>
                  <a:schemeClr val="tx1">
                    <a:lumMod val="50000"/>
                    <a:lumOff val="50000"/>
                  </a:schemeClr>
                </a:solidFill>
              </a:rPr>
            </a:br>
            <a:r>
              <a:rPr lang="nl-NL" sz="900" noProof="0">
                <a:solidFill>
                  <a:schemeClr val="tx1">
                    <a:lumMod val="50000"/>
                    <a:lumOff val="50000"/>
                  </a:schemeClr>
                </a:solidFill>
              </a:rPr>
              <a:t>zich in deze template bevinden.</a:t>
            </a:r>
          </a:p>
          <a:p>
            <a:endParaRPr lang="nl-NL" sz="900" noProof="0">
              <a:solidFill>
                <a:schemeClr val="tx1">
                  <a:lumMod val="50000"/>
                  <a:lumOff val="50000"/>
                </a:schemeClr>
              </a:solidFill>
            </a:endParaRPr>
          </a:p>
          <a:p>
            <a:r>
              <a:rPr lang="nl-NL" sz="900" noProof="0">
                <a:solidFill>
                  <a:schemeClr val="tx1">
                    <a:lumMod val="50000"/>
                    <a:lumOff val="50000"/>
                  </a:schemeClr>
                </a:solidFill>
              </a:rPr>
              <a:t>Volgt je dia niet meer de template of</a:t>
            </a:r>
            <a:br>
              <a:rPr lang="nl-NL" sz="900" noProof="0">
                <a:solidFill>
                  <a:schemeClr val="tx1">
                    <a:lumMod val="50000"/>
                    <a:lumOff val="50000"/>
                  </a:schemeClr>
                </a:solidFill>
              </a:rPr>
            </a:br>
            <a:r>
              <a:rPr lang="nl-NL" sz="900" noProof="0">
                <a:solidFill>
                  <a:schemeClr val="tx1">
                    <a:lumMod val="50000"/>
                    <a:lumOff val="50000"/>
                  </a:schemeClr>
                </a:solidFill>
              </a:rPr>
              <a:t>staan </a:t>
            </a:r>
            <a:r>
              <a:rPr lang="nl-NL" sz="900" noProof="0" err="1">
                <a:solidFill>
                  <a:schemeClr val="tx1">
                    <a:lumMod val="50000"/>
                    <a:lumOff val="50000"/>
                  </a:schemeClr>
                </a:solidFill>
              </a:rPr>
              <a:t>bullets</a:t>
            </a:r>
            <a:r>
              <a:rPr lang="nl-NL" sz="900" noProof="0">
                <a:solidFill>
                  <a:schemeClr val="tx1">
                    <a:lumMod val="50000"/>
                    <a:lumOff val="50000"/>
                  </a:schemeClr>
                </a:solidFill>
              </a:rPr>
              <a:t> en titels scheef t.o.v. de </a:t>
            </a:r>
            <a:br>
              <a:rPr lang="nl-NL" sz="900" noProof="0">
                <a:solidFill>
                  <a:schemeClr val="tx1">
                    <a:lumMod val="50000"/>
                    <a:lumOff val="50000"/>
                  </a:schemeClr>
                </a:solidFill>
              </a:rPr>
            </a:br>
            <a:r>
              <a:rPr lang="nl-NL" sz="900" noProof="0">
                <a:solidFill>
                  <a:schemeClr val="tx1">
                    <a:lumMod val="50000"/>
                    <a:lumOff val="50000"/>
                  </a:schemeClr>
                </a:solidFill>
              </a:rPr>
              <a:t>vorige of volgende slide:</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Ga naar de mini’s aan de linkerkant. </a:t>
            </a:r>
            <a:br>
              <a:rPr lang="nl-NL" sz="900" b="0" kern="1200" noProof="0">
                <a:solidFill>
                  <a:schemeClr val="tx1"/>
                </a:solidFill>
                <a:latin typeface="+mn-lt"/>
                <a:ea typeface="+mn-ea"/>
                <a:cs typeface="+mn-cs"/>
              </a:rPr>
            </a:br>
            <a:r>
              <a:rPr lang="nl-NL" sz="900" b="0" kern="1200" noProof="0">
                <a:solidFill>
                  <a:schemeClr val="tx1"/>
                </a:solidFill>
                <a:latin typeface="+mn-lt"/>
                <a:ea typeface="+mn-ea"/>
                <a:cs typeface="+mn-cs"/>
              </a:rPr>
              <a:t>Klik op de slide die je wilt herstellen.</a:t>
            </a:r>
          </a:p>
          <a:p>
            <a:pPr marL="128588" indent="-128588" algn="l" defTabSz="685800" rtl="0" eaLnBrk="1" latinLnBrk="0" hangingPunct="1">
              <a:buClr>
                <a:schemeClr val="accent2"/>
              </a:buClr>
              <a:buFont typeface="Arial" panose="020B0604020202020204" pitchFamily="34" charset="0"/>
              <a:buChar char="•"/>
            </a:pPr>
            <a:r>
              <a:rPr lang="nl-NL" sz="900" b="0" kern="1200" noProof="0">
                <a:solidFill>
                  <a:schemeClr val="tx1"/>
                </a:solidFill>
                <a:latin typeface="+mn-lt"/>
                <a:ea typeface="+mn-ea"/>
                <a:cs typeface="+mn-cs"/>
              </a:rPr>
              <a:t>Rechtermuis klik: dia herstellen.</a:t>
            </a:r>
          </a:p>
        </p:txBody>
      </p:sp>
      <p:sp>
        <p:nvSpPr>
          <p:cNvPr id="26" name="TextBox 25">
            <a:extLst>
              <a:ext uri="{FF2B5EF4-FFF2-40B4-BE49-F238E27FC236}">
                <a16:creationId xmlns:a16="http://schemas.microsoft.com/office/drawing/2014/main" id="{7EB69CA6-A6D7-41C3-A0E9-48051A0FB4C5}"/>
              </a:ext>
            </a:extLst>
          </p:cNvPr>
          <p:cNvSpPr txBox="1"/>
          <p:nvPr userDrawn="1"/>
        </p:nvSpPr>
        <p:spPr>
          <a:xfrm>
            <a:off x="-1870187" y="85726"/>
            <a:ext cx="1845377" cy="1200329"/>
          </a:xfrm>
          <a:prstGeom prst="rect">
            <a:avLst/>
          </a:prstGeom>
          <a:noFill/>
        </p:spPr>
        <p:txBody>
          <a:bodyPr wrap="none" rtlCol="0">
            <a:spAutoFit/>
          </a:bodyPr>
          <a:lstStyle/>
          <a:p>
            <a:r>
              <a:rPr lang="nl-NL" sz="900" noProof="0">
                <a:solidFill>
                  <a:schemeClr val="tx1">
                    <a:lumMod val="50000"/>
                    <a:lumOff val="50000"/>
                  </a:schemeClr>
                </a:solidFill>
              </a:rPr>
              <a:t>Gebruik alleen dit lettertype: </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endParaRPr lang="nl-NL" sz="900" b="1" kern="1200" noProof="0">
              <a:solidFill>
                <a:schemeClr val="tx1"/>
              </a:solidFill>
              <a:latin typeface="+mn-lt"/>
              <a:ea typeface="+mn-ea"/>
              <a:cs typeface="+mn-cs"/>
            </a:endParaRPr>
          </a:p>
          <a:p>
            <a:endParaRPr lang="nl-NL" sz="900" b="1" noProof="0"/>
          </a:p>
          <a:p>
            <a:r>
              <a:rPr lang="nl-NL" sz="900" noProof="0">
                <a:solidFill>
                  <a:schemeClr val="tx1">
                    <a:lumMod val="50000"/>
                    <a:lumOff val="50000"/>
                  </a:schemeClr>
                </a:solidFill>
              </a:rPr>
              <a:t>Deze variaties van het </a:t>
            </a:r>
            <a:r>
              <a:rPr lang="nl-NL" sz="900" noProof="0" err="1">
                <a:solidFill>
                  <a:schemeClr val="tx1">
                    <a:lumMod val="50000"/>
                    <a:lumOff val="50000"/>
                  </a:schemeClr>
                </a:solidFill>
              </a:rPr>
              <a:t>Arial</a:t>
            </a:r>
            <a:r>
              <a:rPr lang="nl-NL" sz="900" noProof="0">
                <a:solidFill>
                  <a:schemeClr val="tx1">
                    <a:lumMod val="50000"/>
                    <a:lumOff val="50000"/>
                  </a:schemeClr>
                </a:solidFill>
              </a:rPr>
              <a:t> font </a:t>
            </a:r>
            <a:br>
              <a:rPr lang="nl-NL" sz="900" noProof="0">
                <a:solidFill>
                  <a:schemeClr val="tx1">
                    <a:lumMod val="50000"/>
                    <a:lumOff val="50000"/>
                  </a:schemeClr>
                </a:solidFill>
              </a:rPr>
            </a:br>
            <a:r>
              <a:rPr lang="nl-NL" sz="900" noProof="0">
                <a:solidFill>
                  <a:schemeClr val="tx1">
                    <a:lumMod val="50000"/>
                    <a:lumOff val="50000"/>
                  </a:schemeClr>
                </a:solidFill>
              </a:rPr>
              <a:t>zijn toegestaan:</a:t>
            </a: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Regular</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a:t>
            </a:r>
            <a:r>
              <a:rPr lang="nl-NL" sz="900" b="1" kern="1200" noProof="0" err="1">
                <a:solidFill>
                  <a:schemeClr val="tx1"/>
                </a:solidFill>
                <a:latin typeface="+mn-lt"/>
                <a:ea typeface="+mn-ea"/>
                <a:cs typeface="+mn-cs"/>
              </a:rPr>
              <a:t>Bold</a:t>
            </a:r>
            <a:endParaRPr lang="nl-NL" sz="900" b="1" kern="1200" noProof="0">
              <a:solidFill>
                <a:schemeClr val="tx1"/>
              </a:solidFill>
              <a:latin typeface="+mn-lt"/>
              <a:ea typeface="+mn-ea"/>
              <a:cs typeface="+mn-cs"/>
            </a:endParaRPr>
          </a:p>
          <a:p>
            <a:pPr marL="128588" indent="-128588" algn="l" defTabSz="685800" rtl="0" eaLnBrk="1" latinLnBrk="0" hangingPunct="1">
              <a:buClr>
                <a:schemeClr val="accent2"/>
              </a:buClr>
              <a:buFont typeface="Arial" panose="020B0604020202020204" pitchFamily="34" charset="0"/>
              <a:buChar char="•"/>
            </a:pPr>
            <a:r>
              <a:rPr lang="nl-NL" sz="900" b="1" kern="1200" noProof="0" err="1">
                <a:solidFill>
                  <a:schemeClr val="tx1"/>
                </a:solidFill>
                <a:latin typeface="+mn-lt"/>
                <a:ea typeface="+mn-ea"/>
                <a:cs typeface="+mn-cs"/>
              </a:rPr>
              <a:t>Arial</a:t>
            </a:r>
            <a:r>
              <a:rPr lang="nl-NL" sz="900" b="1" kern="1200" noProof="0">
                <a:solidFill>
                  <a:schemeClr val="tx1"/>
                </a:solidFill>
                <a:latin typeface="+mn-lt"/>
                <a:ea typeface="+mn-ea"/>
                <a:cs typeface="+mn-cs"/>
              </a:rPr>
              <a:t> Italic</a:t>
            </a:r>
          </a:p>
        </p:txBody>
      </p:sp>
      <p:pic>
        <p:nvPicPr>
          <p:cNvPr id="9" name="Afbeelding 8" descr="Afbeelding met pijl&#10;&#10;Automatisch gegenereerde beschrijving">
            <a:extLst>
              <a:ext uri="{FF2B5EF4-FFF2-40B4-BE49-F238E27FC236}">
                <a16:creationId xmlns:a16="http://schemas.microsoft.com/office/drawing/2014/main" id="{29B02085-9452-8E4C-97F8-E624FE4B0AB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863073" y="5783622"/>
            <a:ext cx="773940" cy="582957"/>
          </a:xfrm>
          <a:prstGeom prst="rect">
            <a:avLst/>
          </a:prstGeom>
        </p:spPr>
      </p:pic>
    </p:spTree>
    <p:extLst>
      <p:ext uri="{BB962C8B-B14F-4D97-AF65-F5344CB8AC3E}">
        <p14:creationId xmlns:p14="http://schemas.microsoft.com/office/powerpoint/2010/main" val="189673243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11.png"/><Relationship Id="rId3" Type="http://schemas.openxmlformats.org/officeDocument/2006/relationships/slideLayout" Target="../slideLayouts/slideLayout32.xml"/><Relationship Id="rId21" Type="http://schemas.openxmlformats.org/officeDocument/2006/relationships/image" Target="../media/image33.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video" Target="../media/media1.MP4"/><Relationship Id="rId16" Type="http://schemas.openxmlformats.org/officeDocument/2006/relationships/image" Target="../media/image29.png"/><Relationship Id="rId20" Type="http://schemas.openxmlformats.org/officeDocument/2006/relationships/image" Target="../media/image32.png"/><Relationship Id="rId1" Type="http://schemas.microsoft.com/office/2007/relationships/media" Target="../media/media1.MP4"/><Relationship Id="rId6" Type="http://schemas.openxmlformats.org/officeDocument/2006/relationships/image" Target="../media/image2.png"/><Relationship Id="rId11" Type="http://schemas.openxmlformats.org/officeDocument/2006/relationships/image" Target="../media/image24.png"/><Relationship Id="rId5" Type="http://schemas.openxmlformats.org/officeDocument/2006/relationships/image" Target="../media/image9.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1.png"/><Relationship Id="rId4" Type="http://schemas.openxmlformats.org/officeDocument/2006/relationships/image" Target="../media/image19.png"/><Relationship Id="rId9" Type="http://schemas.openxmlformats.org/officeDocument/2006/relationships/image" Target="../media/image22.png"/><Relationship Id="rId1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7.jpeg"/><Relationship Id="rId2" Type="http://schemas.openxmlformats.org/officeDocument/2006/relationships/notesSlide" Target="../notesSlides/notesSlide1.xml"/><Relationship Id="rId1" Type="http://schemas.openxmlformats.org/officeDocument/2006/relationships/slideLayout" Target="../slideLayouts/slideLayout3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9.png"/><Relationship Id="rId7" Type="http://schemas.openxmlformats.org/officeDocument/2006/relationships/image" Target="../media/image40.png"/><Relationship Id="rId12" Type="http://schemas.openxmlformats.org/officeDocument/2006/relationships/image" Target="../media/image44.jpe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media/image39.png"/><Relationship Id="rId11" Type="http://schemas.openxmlformats.org/officeDocument/2006/relationships/image" Target="../media/image43.png"/><Relationship Id="rId5" Type="http://schemas.openxmlformats.org/officeDocument/2006/relationships/image" Target="../media/image38.png"/><Relationship Id="rId10" Type="http://schemas.openxmlformats.org/officeDocument/2006/relationships/image" Target="../media/image42.png"/><Relationship Id="rId4" Type="http://schemas.openxmlformats.org/officeDocument/2006/relationships/image" Target="../media/image2.png"/><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8.png"/><Relationship Id="rId2" Type="http://schemas.openxmlformats.org/officeDocument/2006/relationships/image" Target="../media/image45.jpeg"/><Relationship Id="rId1" Type="http://schemas.openxmlformats.org/officeDocument/2006/relationships/slideLayout" Target="../slideLayouts/slideLayout3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62B6B3F-BBEF-A410-0607-E7D6CAC0ECCE}"/>
              </a:ext>
            </a:extLst>
          </p:cNvPr>
          <p:cNvSpPr/>
          <p:nvPr/>
        </p:nvSpPr>
        <p:spPr>
          <a:xfrm>
            <a:off x="-8403" y="-335"/>
            <a:ext cx="12200403" cy="6858251"/>
          </a:xfrm>
          <a:prstGeom prst="rect">
            <a:avLst/>
          </a:prstGeom>
          <a:solidFill>
            <a:srgbClr val="FDC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ep 6">
            <a:extLst>
              <a:ext uri="{FF2B5EF4-FFF2-40B4-BE49-F238E27FC236}">
                <a16:creationId xmlns:a16="http://schemas.microsoft.com/office/drawing/2014/main" id="{6067255A-1A84-8B49-BD20-3321ABCE5948}"/>
              </a:ext>
            </a:extLst>
          </p:cNvPr>
          <p:cNvGrpSpPr/>
          <p:nvPr/>
        </p:nvGrpSpPr>
        <p:grpSpPr>
          <a:xfrm>
            <a:off x="3809999" y="2942791"/>
            <a:ext cx="4572003" cy="972419"/>
            <a:chOff x="2857499" y="2132069"/>
            <a:chExt cx="3429002" cy="729314"/>
          </a:xfrm>
        </p:grpSpPr>
        <p:pic>
          <p:nvPicPr>
            <p:cNvPr id="5" name="Afbeelding 4">
              <a:extLst>
                <a:ext uri="{FF2B5EF4-FFF2-40B4-BE49-F238E27FC236}">
                  <a16:creationId xmlns:a16="http://schemas.microsoft.com/office/drawing/2014/main" id="{5F22CCD8-8769-0E77-3871-05094202CF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499" y="2483247"/>
              <a:ext cx="3429002" cy="378136"/>
            </a:xfrm>
            <a:prstGeom prst="rect">
              <a:avLst/>
            </a:prstGeom>
          </p:spPr>
        </p:pic>
        <p:pic>
          <p:nvPicPr>
            <p:cNvPr id="6" name="Afbeelding 5" descr="Afbeelding met illustratie&#10;&#10;Automatisch gegenereerde beschrijving">
              <a:extLst>
                <a:ext uri="{FF2B5EF4-FFF2-40B4-BE49-F238E27FC236}">
                  <a16:creationId xmlns:a16="http://schemas.microsoft.com/office/drawing/2014/main" id="{4EDCBE78-2580-CAC3-B148-3C0A219938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8900" y="2132069"/>
              <a:ext cx="1346200" cy="250062"/>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24509125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62B6B3F-BBEF-A410-0607-E7D6CAC0ECCE}"/>
              </a:ext>
            </a:extLst>
          </p:cNvPr>
          <p:cNvSpPr/>
          <p:nvPr/>
        </p:nvSpPr>
        <p:spPr>
          <a:xfrm>
            <a:off x="5421" y="7481"/>
            <a:ext cx="12200403" cy="6858251"/>
          </a:xfrm>
          <a:prstGeom prst="rect">
            <a:avLst/>
          </a:prstGeom>
          <a:solidFill>
            <a:srgbClr val="FDC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Image 0" descr="https://pitch-assets-ccb95893-de3f-4266-973c-20049231b248.s3.eu-west-1.amazonaws.com/a22a109a-4f20-4c2c-ab32-a5b4ff06f6b1?pitch-bytes=2338334&amp;pitch-content-type=image%2Fpng">
            <a:extLst>
              <a:ext uri="{FF2B5EF4-FFF2-40B4-BE49-F238E27FC236}">
                <a16:creationId xmlns:a16="http://schemas.microsoft.com/office/drawing/2014/main" id="{3A5276EC-04F5-411D-61ED-A22528B1DF66}"/>
              </a:ext>
            </a:extLst>
          </p:cNvPr>
          <p:cNvPicPr>
            <a:picLocks noChangeAspect="1"/>
          </p:cNvPicPr>
          <p:nvPr/>
        </p:nvPicPr>
        <p:blipFill>
          <a:blip r:embed="rId4"/>
          <a:srcRect l="20381" r="20381"/>
          <a:stretch/>
        </p:blipFill>
        <p:spPr>
          <a:xfrm>
            <a:off x="6126171" y="21374"/>
            <a:ext cx="6091261" cy="6855120"/>
          </a:xfrm>
          <a:prstGeom prst="rect">
            <a:avLst/>
          </a:prstGeom>
        </p:spPr>
      </p:pic>
      <p:sp>
        <p:nvSpPr>
          <p:cNvPr id="74" name="Text 4">
            <a:extLst>
              <a:ext uri="{FF2B5EF4-FFF2-40B4-BE49-F238E27FC236}">
                <a16:creationId xmlns:a16="http://schemas.microsoft.com/office/drawing/2014/main" id="{2784E876-F4A0-8AF2-B5A3-BB76876EB73D}"/>
              </a:ext>
            </a:extLst>
          </p:cNvPr>
          <p:cNvSpPr/>
          <p:nvPr/>
        </p:nvSpPr>
        <p:spPr>
          <a:xfrm>
            <a:off x="646213" y="632397"/>
            <a:ext cx="4176000" cy="4663503"/>
          </a:xfrm>
          <a:prstGeom prst="rect">
            <a:avLst/>
          </a:prstGeom>
          <a:noFill/>
          <a:ln/>
        </p:spPr>
        <p:txBody>
          <a:bodyPr wrap="square" lIns="0" tIns="0" rIns="0" bIns="0" rtlCol="0" anchor="t"/>
          <a:lstStyle/>
          <a:p>
            <a:pPr defTabSz="914378">
              <a:lnSpc>
                <a:spcPts val="2250"/>
              </a:lnSpc>
              <a:defRPr/>
            </a:pPr>
            <a:r>
              <a:rPr lang="nl-NL" sz="2800" kern="0" dirty="0" err="1">
                <a:solidFill>
                  <a:srgbClr val="0D0C28"/>
                </a:solidFill>
                <a:latin typeface="Inria Sans Light" pitchFamily="50" charset="0"/>
                <a:cs typeface="Poppins" pitchFamily="34" charset="-120"/>
              </a:rPr>
              <a:t>LifeCheck</a:t>
            </a:r>
            <a:r>
              <a:rPr lang="nl-NL" sz="2800" kern="0" dirty="0">
                <a:solidFill>
                  <a:srgbClr val="0D0C28"/>
                </a:solidFill>
                <a:latin typeface="Inria Sans Light" pitchFamily="50" charset="0"/>
                <a:cs typeface="Poppins" pitchFamily="34" charset="-120"/>
              </a:rPr>
              <a:t> is een online preventieplatform dat medewerkers gezond en vitaal houdt.</a:t>
            </a:r>
          </a:p>
          <a:p>
            <a:pPr defTabSz="914378">
              <a:lnSpc>
                <a:spcPts val="2250"/>
              </a:lnSpc>
              <a:defRPr/>
            </a:pPr>
            <a:endParaRPr lang="nl-NL" sz="2800" kern="0" dirty="0">
              <a:solidFill>
                <a:srgbClr val="0D0C28"/>
              </a:solidFill>
              <a:latin typeface="Inria Sans Light" pitchFamily="50" charset="0"/>
              <a:cs typeface="Poppins" pitchFamily="34" charset="-120"/>
            </a:endParaRPr>
          </a:p>
          <a:p>
            <a:pPr defTabSz="914378">
              <a:lnSpc>
                <a:spcPts val="2250"/>
              </a:lnSpc>
              <a:defRPr/>
            </a:pPr>
            <a:r>
              <a:rPr lang="nl-NL" sz="2800" kern="0" dirty="0">
                <a:solidFill>
                  <a:srgbClr val="0D0C28"/>
                </a:solidFill>
                <a:latin typeface="Inria Sans Light" pitchFamily="50" charset="0"/>
                <a:cs typeface="Poppins" pitchFamily="34" charset="-120"/>
              </a:rPr>
              <a:t>Samen verbeteren we het welzijn van medewerkers dankzij </a:t>
            </a:r>
            <a:r>
              <a:rPr lang="nl-NL" sz="2800" b="1" kern="0" dirty="0">
                <a:solidFill>
                  <a:srgbClr val="0D0C28"/>
                </a:solidFill>
                <a:latin typeface="Inria Sans" pitchFamily="50" charset="0"/>
                <a:cs typeface="Poppins" pitchFamily="34" charset="-120"/>
              </a:rPr>
              <a:t>laagdrempelig</a:t>
            </a:r>
            <a:r>
              <a:rPr lang="nl-NL" sz="2800" kern="0" dirty="0">
                <a:solidFill>
                  <a:srgbClr val="0D0C28"/>
                </a:solidFill>
                <a:latin typeface="Inria Sans Light" pitchFamily="50" charset="0"/>
                <a:cs typeface="Poppins" pitchFamily="34" charset="-120"/>
              </a:rPr>
              <a:t>, </a:t>
            </a:r>
            <a:r>
              <a:rPr lang="nl-NL" sz="2800" b="1" kern="0" dirty="0">
                <a:solidFill>
                  <a:srgbClr val="0D0C28"/>
                </a:solidFill>
                <a:latin typeface="Inria Sans" pitchFamily="50" charset="0"/>
                <a:cs typeface="Poppins" pitchFamily="34" charset="-120"/>
              </a:rPr>
              <a:t>vroegtijdig</a:t>
            </a:r>
            <a:r>
              <a:rPr lang="nl-NL" sz="2800" kern="0" dirty="0">
                <a:solidFill>
                  <a:srgbClr val="0D0C28"/>
                </a:solidFill>
                <a:latin typeface="Inria Sans Light" pitchFamily="50" charset="0"/>
                <a:cs typeface="Poppins" pitchFamily="34" charset="-120"/>
              </a:rPr>
              <a:t> én </a:t>
            </a:r>
            <a:r>
              <a:rPr lang="nl-NL" sz="2800" b="1" kern="0" dirty="0">
                <a:solidFill>
                  <a:srgbClr val="0D0C28"/>
                </a:solidFill>
                <a:latin typeface="Inria Sans" pitchFamily="50" charset="0"/>
                <a:cs typeface="Poppins" pitchFamily="34" charset="-120"/>
              </a:rPr>
              <a:t>vertrouwelijk advies</a:t>
            </a:r>
            <a:r>
              <a:rPr lang="nl-NL" sz="2800" kern="0" dirty="0">
                <a:solidFill>
                  <a:srgbClr val="0D0C28"/>
                </a:solidFill>
                <a:latin typeface="Inria Sans Light" pitchFamily="50" charset="0"/>
                <a:cs typeface="Poppins" pitchFamily="34" charset="-120"/>
              </a:rPr>
              <a:t> van ons uitgebreide team specialisten en lifestyle programma’s</a:t>
            </a:r>
          </a:p>
        </p:txBody>
      </p:sp>
      <p:pic>
        <p:nvPicPr>
          <p:cNvPr id="81" name="Image 2" descr="https://pitch-assets-ccb95893-de3f-4266-973c-20049231b248.s3.eu-west-1.amazonaws.com/8a4eed37-b16b-4293-9f41-b1a7ccc2e792?pitch-bytes=23147&amp;pitch-content-type=image%2Fpng">
            <a:extLst>
              <a:ext uri="{FF2B5EF4-FFF2-40B4-BE49-F238E27FC236}">
                <a16:creationId xmlns:a16="http://schemas.microsoft.com/office/drawing/2014/main" id="{7C88BC34-2915-5DEC-1A58-89C9E4D1EBE1}"/>
              </a:ext>
            </a:extLst>
          </p:cNvPr>
          <p:cNvPicPr>
            <a:picLocks noChangeAspect="1"/>
          </p:cNvPicPr>
          <p:nvPr/>
        </p:nvPicPr>
        <p:blipFill>
          <a:blip r:embed="rId5"/>
          <a:srcRect/>
          <a:stretch/>
        </p:blipFill>
        <p:spPr>
          <a:xfrm>
            <a:off x="10420763" y="6375798"/>
            <a:ext cx="1431200" cy="265852"/>
          </a:xfrm>
          <a:prstGeom prst="rect">
            <a:avLst/>
          </a:prstGeom>
        </p:spPr>
      </p:pic>
      <p:pic>
        <p:nvPicPr>
          <p:cNvPr id="82" name="Afbeelding 81" descr="Afbeelding met pijl&#10;&#10;Automatisch gegenereerde beschrijving">
            <a:extLst>
              <a:ext uri="{FF2B5EF4-FFF2-40B4-BE49-F238E27FC236}">
                <a16:creationId xmlns:a16="http://schemas.microsoft.com/office/drawing/2014/main" id="{0D30621F-1927-700D-604D-16997D6839B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67727" y="5877213"/>
            <a:ext cx="537272" cy="404688"/>
          </a:xfrm>
          <a:prstGeom prst="rect">
            <a:avLst/>
          </a:prstGeom>
        </p:spPr>
      </p:pic>
      <p:pic>
        <p:nvPicPr>
          <p:cNvPr id="83" name="Afbeelding 82" descr="Afbeelding met symbool, logo, Graphics, Lettertype&#10;&#10;Automatisch gegenereerde beschrijving">
            <a:extLst>
              <a:ext uri="{FF2B5EF4-FFF2-40B4-BE49-F238E27FC236}">
                <a16:creationId xmlns:a16="http://schemas.microsoft.com/office/drawing/2014/main" id="{E04DDF61-8B60-4E25-CC6C-80ACD3F6737C}"/>
              </a:ext>
            </a:extLst>
          </p:cNvPr>
          <p:cNvPicPr>
            <a:picLocks noChangeAspect="1"/>
          </p:cNvPicPr>
          <p:nvPr/>
        </p:nvPicPr>
        <p:blipFill>
          <a:blip r:embed="rId7"/>
          <a:stretch>
            <a:fillRect/>
          </a:stretch>
        </p:blipFill>
        <p:spPr>
          <a:xfrm>
            <a:off x="838655" y="7354960"/>
            <a:ext cx="960000" cy="960000"/>
          </a:xfrm>
          <a:prstGeom prst="rect">
            <a:avLst/>
          </a:prstGeom>
        </p:spPr>
      </p:pic>
      <p:pic>
        <p:nvPicPr>
          <p:cNvPr id="84" name="Picture 8">
            <a:extLst>
              <a:ext uri="{FF2B5EF4-FFF2-40B4-BE49-F238E27FC236}">
                <a16:creationId xmlns:a16="http://schemas.microsoft.com/office/drawing/2014/main" id="{01D72C04-0CA4-B839-9194-8158298635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29852" y="7354960"/>
            <a:ext cx="960000" cy="960000"/>
          </a:xfrm>
          <a:prstGeom prst="rect">
            <a:avLst/>
          </a:prstGeom>
          <a:noFill/>
          <a:extLst>
            <a:ext uri="{909E8E84-426E-40DD-AFC4-6F175D3DCCD1}">
              <a14:hiddenFill xmlns:a14="http://schemas.microsoft.com/office/drawing/2010/main">
                <a:solidFill>
                  <a:srgbClr val="FFFFFF"/>
                </a:solidFill>
              </a14:hiddenFill>
            </a:ext>
          </a:extLst>
        </p:spPr>
      </p:pic>
      <p:pic>
        <p:nvPicPr>
          <p:cNvPr id="85" name="Afbeelding 84" descr="Afbeelding met symbool, Graphics, logo, Lettertype&#10;&#10;Automatisch gegenereerde beschrijving">
            <a:extLst>
              <a:ext uri="{FF2B5EF4-FFF2-40B4-BE49-F238E27FC236}">
                <a16:creationId xmlns:a16="http://schemas.microsoft.com/office/drawing/2014/main" id="{A870F3D1-2C22-406E-49D8-24D69F4F0DD8}"/>
              </a:ext>
            </a:extLst>
          </p:cNvPr>
          <p:cNvPicPr>
            <a:picLocks noChangeAspect="1"/>
          </p:cNvPicPr>
          <p:nvPr/>
        </p:nvPicPr>
        <p:blipFill>
          <a:blip r:embed="rId9"/>
          <a:stretch>
            <a:fillRect/>
          </a:stretch>
        </p:blipFill>
        <p:spPr>
          <a:xfrm>
            <a:off x="2874068" y="7354960"/>
            <a:ext cx="960000" cy="960000"/>
          </a:xfrm>
          <a:prstGeom prst="rect">
            <a:avLst/>
          </a:prstGeom>
        </p:spPr>
      </p:pic>
      <p:pic>
        <p:nvPicPr>
          <p:cNvPr id="86" name="Picture 10">
            <a:extLst>
              <a:ext uri="{FF2B5EF4-FFF2-40B4-BE49-F238E27FC236}">
                <a16:creationId xmlns:a16="http://schemas.microsoft.com/office/drawing/2014/main" id="{FA24525A-23C0-0FCB-80E7-13C5C7888F7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33729" y="7209093"/>
            <a:ext cx="1296000" cy="129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2">
            <a:extLst>
              <a:ext uri="{FF2B5EF4-FFF2-40B4-BE49-F238E27FC236}">
                <a16:creationId xmlns:a16="http://schemas.microsoft.com/office/drawing/2014/main" id="{161522F0-2AC9-A71A-6162-1F537624E9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01853" y="7094557"/>
            <a:ext cx="1525072" cy="1525072"/>
          </a:xfrm>
          <a:prstGeom prst="rect">
            <a:avLst/>
          </a:prstGeom>
          <a:noFill/>
          <a:extLst>
            <a:ext uri="{909E8E84-426E-40DD-AFC4-6F175D3DCCD1}">
              <a14:hiddenFill xmlns:a14="http://schemas.microsoft.com/office/drawing/2010/main">
                <a:solidFill>
                  <a:srgbClr val="FFFFFF"/>
                </a:solidFill>
              </a14:hiddenFill>
            </a:ext>
          </a:extLst>
        </p:spPr>
      </p:pic>
      <p:pic>
        <p:nvPicPr>
          <p:cNvPr id="88" name="Afbeelding 87" descr="Afbeelding met symbool, Graphics, diagram, lijn&#10;&#10;Automatisch gegenereerde beschrijving">
            <a:extLst>
              <a:ext uri="{FF2B5EF4-FFF2-40B4-BE49-F238E27FC236}">
                <a16:creationId xmlns:a16="http://schemas.microsoft.com/office/drawing/2014/main" id="{4FB3F533-B489-79C1-8982-410949B194A7}"/>
              </a:ext>
            </a:extLst>
          </p:cNvPr>
          <p:cNvPicPr>
            <a:picLocks noChangeAspect="1"/>
          </p:cNvPicPr>
          <p:nvPr/>
        </p:nvPicPr>
        <p:blipFill>
          <a:blip r:embed="rId12"/>
          <a:stretch>
            <a:fillRect/>
          </a:stretch>
        </p:blipFill>
        <p:spPr>
          <a:xfrm>
            <a:off x="4193144" y="7356501"/>
            <a:ext cx="1056000" cy="1056000"/>
          </a:xfrm>
          <a:prstGeom prst="rect">
            <a:avLst/>
          </a:prstGeom>
        </p:spPr>
      </p:pic>
      <p:pic>
        <p:nvPicPr>
          <p:cNvPr id="89" name="Afbeelding 88" descr="Afbeelding met hart, zwart-wit&#10;&#10;Automatisch gegenereerde beschrijving">
            <a:extLst>
              <a:ext uri="{FF2B5EF4-FFF2-40B4-BE49-F238E27FC236}">
                <a16:creationId xmlns:a16="http://schemas.microsoft.com/office/drawing/2014/main" id="{C995154A-73F4-9F73-969B-B3C20152D04F}"/>
              </a:ext>
            </a:extLst>
          </p:cNvPr>
          <p:cNvPicPr>
            <a:picLocks noChangeAspect="1"/>
          </p:cNvPicPr>
          <p:nvPr/>
        </p:nvPicPr>
        <p:blipFill>
          <a:blip r:embed="rId13"/>
          <a:stretch>
            <a:fillRect/>
          </a:stretch>
        </p:blipFill>
        <p:spPr>
          <a:xfrm>
            <a:off x="8153011" y="7077148"/>
            <a:ext cx="1445363" cy="1445363"/>
          </a:xfrm>
          <a:prstGeom prst="rect">
            <a:avLst/>
          </a:prstGeom>
        </p:spPr>
      </p:pic>
      <p:pic>
        <p:nvPicPr>
          <p:cNvPr id="90" name="Picture 14">
            <a:extLst>
              <a:ext uri="{FF2B5EF4-FFF2-40B4-BE49-F238E27FC236}">
                <a16:creationId xmlns:a16="http://schemas.microsoft.com/office/drawing/2014/main" id="{5217C95C-4A72-D75A-5827-3C3BBF1E272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192025" y="7096409"/>
            <a:ext cx="1522928" cy="152292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6">
            <a:extLst>
              <a:ext uri="{FF2B5EF4-FFF2-40B4-BE49-F238E27FC236}">
                <a16:creationId xmlns:a16="http://schemas.microsoft.com/office/drawing/2014/main" id="{7072F14F-F633-CC72-38EA-70DA93C27A6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55188" y="7321544"/>
            <a:ext cx="1081949" cy="1081949"/>
          </a:xfrm>
          <a:prstGeom prst="rect">
            <a:avLst/>
          </a:prstGeom>
          <a:noFill/>
          <a:extLst>
            <a:ext uri="{909E8E84-426E-40DD-AFC4-6F175D3DCCD1}">
              <a14:hiddenFill xmlns:a14="http://schemas.microsoft.com/office/drawing/2010/main">
                <a:solidFill>
                  <a:srgbClr val="FFFFFF"/>
                </a:solidFill>
              </a14:hiddenFill>
            </a:ext>
          </a:extLst>
        </p:spPr>
      </p:pic>
      <p:pic>
        <p:nvPicPr>
          <p:cNvPr id="92" name="Afbeelding 91" descr="Afbeelding met symbool, Graphics, Lettertype, logo&#10;&#10;Automatisch gegenereerde beschrijving">
            <a:extLst>
              <a:ext uri="{FF2B5EF4-FFF2-40B4-BE49-F238E27FC236}">
                <a16:creationId xmlns:a16="http://schemas.microsoft.com/office/drawing/2014/main" id="{52B315AD-0294-DB5E-883F-51BA32536DFE}"/>
              </a:ext>
            </a:extLst>
          </p:cNvPr>
          <p:cNvPicPr>
            <a:picLocks noChangeAspect="1"/>
          </p:cNvPicPr>
          <p:nvPr/>
        </p:nvPicPr>
        <p:blipFill>
          <a:blip r:embed="rId16"/>
          <a:stretch>
            <a:fillRect/>
          </a:stretch>
        </p:blipFill>
        <p:spPr>
          <a:xfrm>
            <a:off x="7137428" y="7334143"/>
            <a:ext cx="889000" cy="889000"/>
          </a:xfrm>
          <a:prstGeom prst="rect">
            <a:avLst/>
          </a:prstGeom>
        </p:spPr>
      </p:pic>
      <p:pic>
        <p:nvPicPr>
          <p:cNvPr id="2" name="Picture 2">
            <a:extLst>
              <a:ext uri="{FF2B5EF4-FFF2-40B4-BE49-F238E27FC236}">
                <a16:creationId xmlns:a16="http://schemas.microsoft.com/office/drawing/2014/main" id="{970C0DBC-FB3E-B2D8-08D2-3A4E9040BD8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824283" y="7350915"/>
            <a:ext cx="1050651" cy="1050651"/>
          </a:xfrm>
          <a:prstGeom prst="rect">
            <a:avLst/>
          </a:prstGeom>
          <a:noFill/>
          <a:extLst>
            <a:ext uri="{909E8E84-426E-40DD-AFC4-6F175D3DCCD1}">
              <a14:hiddenFill xmlns:a14="http://schemas.microsoft.com/office/drawing/2010/main">
                <a:solidFill>
                  <a:srgbClr val="FFFFFF"/>
                </a:solidFill>
              </a14:hiddenFill>
            </a:ext>
          </a:extLst>
        </p:spPr>
      </p:pic>
      <p:pic>
        <p:nvPicPr>
          <p:cNvPr id="3" name="Afbeelding 2">
            <a:extLst>
              <a:ext uri="{FF2B5EF4-FFF2-40B4-BE49-F238E27FC236}">
                <a16:creationId xmlns:a16="http://schemas.microsoft.com/office/drawing/2014/main" id="{49A45785-081D-9CC5-FA31-132F11C57B3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41976" y="5846651"/>
            <a:ext cx="4176000" cy="460512"/>
          </a:xfrm>
          <a:prstGeom prst="rect">
            <a:avLst/>
          </a:prstGeom>
        </p:spPr>
      </p:pic>
      <p:grpSp>
        <p:nvGrpSpPr>
          <p:cNvPr id="48" name="Groep 47">
            <a:extLst>
              <a:ext uri="{FF2B5EF4-FFF2-40B4-BE49-F238E27FC236}">
                <a16:creationId xmlns:a16="http://schemas.microsoft.com/office/drawing/2014/main" id="{6F9F35E6-9158-2C22-EAF0-4B5A165A97D1}"/>
              </a:ext>
            </a:extLst>
          </p:cNvPr>
          <p:cNvGrpSpPr/>
          <p:nvPr/>
        </p:nvGrpSpPr>
        <p:grpSpPr>
          <a:xfrm>
            <a:off x="7567267" y="606690"/>
            <a:ext cx="2880123" cy="5835788"/>
            <a:chOff x="10082235" y="360712"/>
            <a:chExt cx="2238375" cy="4526035"/>
          </a:xfrm>
        </p:grpSpPr>
        <p:sp>
          <p:nvSpPr>
            <p:cNvPr id="34" name="Rechthoek: afgeronde bovenhoeken 33">
              <a:extLst>
                <a:ext uri="{FF2B5EF4-FFF2-40B4-BE49-F238E27FC236}">
                  <a16:creationId xmlns:a16="http://schemas.microsoft.com/office/drawing/2014/main" id="{E3511ED7-70ED-3399-6E35-13C45206EBE8}"/>
                </a:ext>
              </a:extLst>
            </p:cNvPr>
            <p:cNvSpPr/>
            <p:nvPr/>
          </p:nvSpPr>
          <p:spPr>
            <a:xfrm flipV="1">
              <a:off x="10197928" y="4523313"/>
              <a:ext cx="2016000" cy="284962"/>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5" name="Groep 34">
              <a:extLst>
                <a:ext uri="{FF2B5EF4-FFF2-40B4-BE49-F238E27FC236}">
                  <a16:creationId xmlns:a16="http://schemas.microsoft.com/office/drawing/2014/main" id="{5D371EC5-264D-4E47-8F8E-6A819394BA3E}"/>
                </a:ext>
              </a:extLst>
            </p:cNvPr>
            <p:cNvGrpSpPr/>
            <p:nvPr/>
          </p:nvGrpSpPr>
          <p:grpSpPr>
            <a:xfrm>
              <a:off x="10197929" y="430531"/>
              <a:ext cx="2016000" cy="378509"/>
              <a:chOff x="7746347" y="1628775"/>
              <a:chExt cx="2016000" cy="378509"/>
            </a:xfrm>
          </p:grpSpPr>
          <p:pic>
            <p:nvPicPr>
              <p:cNvPr id="36" name="Afbeelding 35">
                <a:extLst>
                  <a:ext uri="{FF2B5EF4-FFF2-40B4-BE49-F238E27FC236}">
                    <a16:creationId xmlns:a16="http://schemas.microsoft.com/office/drawing/2014/main" id="{D5FE0FCC-9D47-581F-64D9-41A01B1F3D55}"/>
                  </a:ext>
                </a:extLst>
              </p:cNvPr>
              <p:cNvPicPr>
                <a:picLocks noChangeAspect="1"/>
              </p:cNvPicPr>
              <p:nvPr/>
            </p:nvPicPr>
            <p:blipFill rotWithShape="1">
              <a:blip r:embed="rId19"/>
              <a:srcRect t="350" b="98195"/>
              <a:stretch/>
            </p:blipFill>
            <p:spPr>
              <a:xfrm>
                <a:off x="7746347" y="1795452"/>
                <a:ext cx="2016000" cy="211832"/>
              </a:xfrm>
              <a:prstGeom prst="rect">
                <a:avLst/>
              </a:prstGeom>
            </p:spPr>
          </p:pic>
          <p:sp>
            <p:nvSpPr>
              <p:cNvPr id="37" name="Rechthoek: afgeronde bovenhoeken 36">
                <a:extLst>
                  <a:ext uri="{FF2B5EF4-FFF2-40B4-BE49-F238E27FC236}">
                    <a16:creationId xmlns:a16="http://schemas.microsoft.com/office/drawing/2014/main" id="{58C4DF21-6AEA-93FF-610F-D39B6D3D5B78}"/>
                  </a:ext>
                </a:extLst>
              </p:cNvPr>
              <p:cNvSpPr/>
              <p:nvPr/>
            </p:nvSpPr>
            <p:spPr>
              <a:xfrm>
                <a:off x="7746347" y="1628775"/>
                <a:ext cx="2016000" cy="166676"/>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8" name="Image 0" descr="https://pitch-assets-ccb95893-de3f-4266-973c-20049231b248.s3.eu-west-1.amazonaws.com/ce637281-c6ee-412a-8537-40b61263e4cb?pitch-bytes=145184&amp;pitch-content-type=image%2Fpng">
              <a:extLst>
                <a:ext uri="{FF2B5EF4-FFF2-40B4-BE49-F238E27FC236}">
                  <a16:creationId xmlns:a16="http://schemas.microsoft.com/office/drawing/2014/main" id="{C37C8616-B7F3-9B32-91E8-3806D5D29FBC}"/>
                </a:ext>
              </a:extLst>
            </p:cNvPr>
            <p:cNvPicPr>
              <a:picLocks noChangeAspect="1"/>
            </p:cNvPicPr>
            <p:nvPr/>
          </p:nvPicPr>
          <p:blipFill>
            <a:blip r:embed="rId20"/>
            <a:srcRect/>
            <a:stretch/>
          </p:blipFill>
          <p:spPr>
            <a:xfrm rot="5400000">
              <a:off x="8938405" y="1504542"/>
              <a:ext cx="4526035" cy="2238375"/>
            </a:xfrm>
            <a:prstGeom prst="rect">
              <a:avLst/>
            </a:prstGeom>
            <a:effectLst>
              <a:outerShdw blurRad="406400" dist="50800" dir="5400000" algn="bl" rotWithShape="0">
                <a:srgbClr val="000000">
                  <a:alpha val="40000"/>
                </a:srgbClr>
              </a:outerShdw>
            </a:effectLst>
          </p:spPr>
        </p:pic>
      </p:grpSp>
      <p:pic>
        <p:nvPicPr>
          <p:cNvPr id="6" name="XNHZ6401">
            <a:hlinkClick r:id="" action="ppaction://media"/>
            <a:extLst>
              <a:ext uri="{FF2B5EF4-FFF2-40B4-BE49-F238E27FC236}">
                <a16:creationId xmlns:a16="http://schemas.microsoft.com/office/drawing/2014/main" id="{3AEF2F16-DA79-5448-3CAC-97193BAF17DE}"/>
              </a:ext>
            </a:extLst>
          </p:cNvPr>
          <p:cNvPicPr>
            <a:picLocks noChangeAspect="1"/>
          </p:cNvPicPr>
          <p:nvPr>
            <a:videoFile r:link="rId2"/>
            <p:extLst>
              <p:ext uri="{DAA4B4D4-6D71-4841-9C94-3DE7FCFB9230}">
                <p14:media xmlns:p14="http://schemas.microsoft.com/office/powerpoint/2010/main" r:embed="rId1"/>
              </p:ext>
            </p:extLst>
          </p:nvPr>
        </p:nvPicPr>
        <p:blipFill>
          <a:blip r:embed="rId21"/>
          <a:stretch>
            <a:fillRect/>
          </a:stretch>
        </p:blipFill>
        <p:spPr>
          <a:xfrm>
            <a:off x="7749590" y="1198649"/>
            <a:ext cx="2559387" cy="4775224"/>
          </a:xfrm>
          <a:prstGeom prst="rect">
            <a:avLst/>
          </a:prstGeom>
        </p:spPr>
      </p:pic>
      <p:sp>
        <p:nvSpPr>
          <p:cNvPr id="75" name="Text 5">
            <a:extLst>
              <a:ext uri="{FF2B5EF4-FFF2-40B4-BE49-F238E27FC236}">
                <a16:creationId xmlns:a16="http://schemas.microsoft.com/office/drawing/2014/main" id="{E0E9C62E-E0CD-0388-1DE1-929703DF4992}"/>
              </a:ext>
            </a:extLst>
          </p:cNvPr>
          <p:cNvSpPr/>
          <p:nvPr/>
        </p:nvSpPr>
        <p:spPr>
          <a:xfrm>
            <a:off x="6354606" y="2267532"/>
            <a:ext cx="1808953" cy="578781"/>
          </a:xfrm>
          <a:prstGeom prst="roundRect">
            <a:avLst>
              <a:gd name="adj" fmla="val 80000"/>
            </a:avLst>
          </a:prstGeom>
          <a:solidFill>
            <a:srgbClr val="FFFFFF"/>
          </a:solidFill>
          <a:ln w="3175">
            <a:noFill/>
          </a:ln>
          <a:effectLst>
            <a:outerShdw blurRad="254000" dist="25400" dir="5400000" algn="bl" rotWithShape="0">
              <a:srgbClr val="000000">
                <a:alpha val="20000"/>
              </a:srgbClr>
            </a:outerShdw>
          </a:effectLst>
        </p:spPr>
        <p:txBody>
          <a:bodyPr wrap="square" lIns="97288" tIns="52476" rIns="97288" bIns="52476"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16" normalizeH="0" baseline="0" noProof="0">
                <a:ln>
                  <a:noFill/>
                </a:ln>
                <a:solidFill>
                  <a:srgbClr val="0D0C28"/>
                </a:solidFill>
                <a:effectLst/>
                <a:uLnTx/>
                <a:uFillTx/>
                <a:latin typeface="Inria Sans Light" pitchFamily="50" charset="0"/>
                <a:ea typeface="+mn-ea"/>
                <a:cs typeface="+mn-cs"/>
              </a:rPr>
              <a:t>Via app of website</a:t>
            </a:r>
            <a:endParaRPr kumimoji="0" lang="en-US" sz="1333" b="0" i="0" u="none" strike="noStrike" kern="1200" cap="none" spc="0" normalizeH="0" baseline="0" noProof="0">
              <a:ln>
                <a:noFill/>
              </a:ln>
              <a:solidFill>
                <a:prstClr val="black"/>
              </a:solidFill>
              <a:effectLst/>
              <a:uLnTx/>
              <a:uFillTx/>
              <a:latin typeface="Inria Sans Light" pitchFamily="50" charset="0"/>
              <a:ea typeface="+mn-ea"/>
              <a:cs typeface="+mn-cs"/>
            </a:endParaRPr>
          </a:p>
        </p:txBody>
      </p:sp>
      <p:sp>
        <p:nvSpPr>
          <p:cNvPr id="78" name="Text 5">
            <a:extLst>
              <a:ext uri="{FF2B5EF4-FFF2-40B4-BE49-F238E27FC236}">
                <a16:creationId xmlns:a16="http://schemas.microsoft.com/office/drawing/2014/main" id="{BDC667F4-0972-0EFC-5D6F-FBC9B0D1AF18}"/>
              </a:ext>
            </a:extLst>
          </p:cNvPr>
          <p:cNvSpPr/>
          <p:nvPr/>
        </p:nvSpPr>
        <p:spPr>
          <a:xfrm>
            <a:off x="6331742" y="4080271"/>
            <a:ext cx="1808953" cy="578781"/>
          </a:xfrm>
          <a:prstGeom prst="roundRect">
            <a:avLst>
              <a:gd name="adj" fmla="val 80000"/>
            </a:avLst>
          </a:prstGeom>
          <a:solidFill>
            <a:srgbClr val="FFFFFF"/>
          </a:solidFill>
          <a:ln w="3175">
            <a:noFill/>
          </a:ln>
          <a:effectLst>
            <a:outerShdw blurRad="254000" dist="25400" dir="5400000" algn="bl" rotWithShape="0">
              <a:srgbClr val="000000">
                <a:alpha val="20000"/>
              </a:srgbClr>
            </a:outerShdw>
          </a:effectLst>
        </p:spPr>
        <p:txBody>
          <a:bodyPr wrap="square" lIns="97288" tIns="52476" rIns="97288" bIns="52476"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16" normalizeH="0" baseline="0" noProof="0" dirty="0">
                <a:ln>
                  <a:noFill/>
                </a:ln>
                <a:solidFill>
                  <a:srgbClr val="0D0C28"/>
                </a:solidFill>
                <a:effectLst/>
                <a:uLnTx/>
                <a:uFillTx/>
                <a:latin typeface="Inria Sans Light" pitchFamily="50" charset="0"/>
                <a:ea typeface="+mn-ea"/>
                <a:cs typeface="+mn-cs"/>
              </a:rPr>
              <a:t>5 </a:t>
            </a:r>
            <a:r>
              <a:rPr kumimoji="0" lang="en-US" sz="1333" b="0" i="0" u="none" strike="noStrike" kern="0" cap="none" spc="-16" normalizeH="0" baseline="0" noProof="0" dirty="0" err="1">
                <a:ln>
                  <a:noFill/>
                </a:ln>
                <a:solidFill>
                  <a:srgbClr val="0D0C28"/>
                </a:solidFill>
                <a:effectLst/>
                <a:uLnTx/>
                <a:uFillTx/>
                <a:latin typeface="Inria Sans Light" pitchFamily="50" charset="0"/>
                <a:ea typeface="+mn-ea"/>
                <a:cs typeface="+mn-cs"/>
              </a:rPr>
              <a:t>dagen</a:t>
            </a:r>
            <a:r>
              <a:rPr kumimoji="0" lang="en-US" sz="1333" b="0" i="0" u="none" strike="noStrike" kern="0" cap="none" spc="-16" normalizeH="0" baseline="0" noProof="0" dirty="0">
                <a:ln>
                  <a:noFill/>
                </a:ln>
                <a:solidFill>
                  <a:srgbClr val="0D0C28"/>
                </a:solidFill>
                <a:effectLst/>
                <a:uLnTx/>
                <a:uFillTx/>
                <a:latin typeface="Inria Sans Light" pitchFamily="50" charset="0"/>
                <a:ea typeface="+mn-ea"/>
                <a:cs typeface="+mn-cs"/>
              </a:rPr>
              <a:t> per week van 8.30 – 19.30 </a:t>
            </a:r>
            <a:r>
              <a:rPr kumimoji="0" lang="en-US" sz="1333" b="0" i="0" u="none" strike="noStrike" kern="0" cap="none" spc="-16" normalizeH="0" baseline="0" noProof="0" dirty="0" err="1">
                <a:ln>
                  <a:noFill/>
                </a:ln>
                <a:solidFill>
                  <a:srgbClr val="0D0C28"/>
                </a:solidFill>
                <a:effectLst/>
                <a:uLnTx/>
                <a:uFillTx/>
                <a:latin typeface="Inria Sans Light" pitchFamily="50" charset="0"/>
                <a:ea typeface="+mn-ea"/>
                <a:cs typeface="+mn-cs"/>
              </a:rPr>
              <a:t>uur</a:t>
            </a:r>
            <a:endParaRPr kumimoji="0" lang="en-US" sz="1333" b="0" i="0" u="none" strike="noStrike" kern="1200" cap="none" spc="0" normalizeH="0" baseline="0" noProof="0" dirty="0">
              <a:ln>
                <a:noFill/>
              </a:ln>
              <a:solidFill>
                <a:prstClr val="black"/>
              </a:solidFill>
              <a:effectLst/>
              <a:uLnTx/>
              <a:uFillTx/>
              <a:latin typeface="Inria Sans Light" pitchFamily="50" charset="0"/>
              <a:ea typeface="+mn-ea"/>
              <a:cs typeface="+mn-cs"/>
            </a:endParaRPr>
          </a:p>
        </p:txBody>
      </p:sp>
      <p:sp>
        <p:nvSpPr>
          <p:cNvPr id="69" name="Text 5">
            <a:extLst>
              <a:ext uri="{FF2B5EF4-FFF2-40B4-BE49-F238E27FC236}">
                <a16:creationId xmlns:a16="http://schemas.microsoft.com/office/drawing/2014/main" id="{8CFDE045-241E-274C-D40F-9CCC5CAC1E7D}"/>
              </a:ext>
            </a:extLst>
          </p:cNvPr>
          <p:cNvSpPr/>
          <p:nvPr/>
        </p:nvSpPr>
        <p:spPr>
          <a:xfrm>
            <a:off x="10033001" y="1361163"/>
            <a:ext cx="1808953" cy="578781"/>
          </a:xfrm>
          <a:prstGeom prst="roundRect">
            <a:avLst>
              <a:gd name="adj" fmla="val 80000"/>
            </a:avLst>
          </a:prstGeom>
          <a:solidFill>
            <a:srgbClr val="FFFFFF"/>
          </a:solidFill>
          <a:ln w="3175">
            <a:noFill/>
          </a:ln>
          <a:effectLst>
            <a:outerShdw blurRad="254000" dist="25400" dir="5400000" algn="bl" rotWithShape="0">
              <a:srgbClr val="000000">
                <a:alpha val="20000"/>
              </a:srgbClr>
            </a:outerShdw>
          </a:effectLst>
        </p:spPr>
        <p:txBody>
          <a:bodyPr wrap="square" lIns="97288" tIns="52476" rIns="97288" bIns="52476"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16" normalizeH="0" baseline="0" noProof="0" dirty="0">
                <a:ln>
                  <a:noFill/>
                </a:ln>
                <a:solidFill>
                  <a:srgbClr val="0D0C28"/>
                </a:solidFill>
                <a:effectLst/>
                <a:uLnTx/>
                <a:uFillTx/>
                <a:latin typeface="Inria Sans Light" pitchFamily="50" charset="0"/>
                <a:ea typeface="+mn-ea"/>
                <a:cs typeface="+mn-cs"/>
              </a:rPr>
              <a:t>100% </a:t>
            </a:r>
            <a:r>
              <a:rPr lang="en-US" sz="1333" kern="0" spc="-16" dirty="0" err="1">
                <a:solidFill>
                  <a:srgbClr val="0D0C28"/>
                </a:solidFill>
                <a:latin typeface="Inria Sans Light" pitchFamily="50" charset="0"/>
              </a:rPr>
              <a:t>vertrouwelijk</a:t>
            </a:r>
            <a:r>
              <a:rPr kumimoji="0" lang="en-US" sz="1333" b="0" i="0" u="none" strike="noStrike" kern="0" cap="none" spc="-16" normalizeH="0" baseline="0" noProof="0" dirty="0">
                <a:ln>
                  <a:noFill/>
                </a:ln>
                <a:solidFill>
                  <a:srgbClr val="0D0C28"/>
                </a:solidFill>
                <a:effectLst/>
                <a:uLnTx/>
                <a:uFillTx/>
                <a:latin typeface="Inria Sans Light" pitchFamily="50" charset="0"/>
                <a:ea typeface="+mn-ea"/>
                <a:cs typeface="+mn-cs"/>
              </a:rPr>
              <a:t> </a:t>
            </a:r>
            <a:r>
              <a:rPr kumimoji="0" lang="en-US" sz="1333" b="0" i="0" u="none" strike="noStrike" kern="0" cap="none" spc="-16" normalizeH="0" baseline="0" noProof="0" dirty="0" err="1">
                <a:ln>
                  <a:noFill/>
                </a:ln>
                <a:solidFill>
                  <a:srgbClr val="0D0C28"/>
                </a:solidFill>
                <a:effectLst/>
                <a:uLnTx/>
                <a:uFillTx/>
                <a:latin typeface="Inria Sans Light" pitchFamily="50" charset="0"/>
                <a:ea typeface="+mn-ea"/>
                <a:cs typeface="+mn-cs"/>
              </a:rPr>
              <a:t>te</a:t>
            </a:r>
            <a:r>
              <a:rPr kumimoji="0" lang="en-US" sz="1333" b="0" i="0" u="none" strike="noStrike" kern="0" cap="none" spc="-16" normalizeH="0" baseline="0" noProof="0" dirty="0">
                <a:ln>
                  <a:noFill/>
                </a:ln>
                <a:solidFill>
                  <a:srgbClr val="0D0C28"/>
                </a:solidFill>
                <a:effectLst/>
                <a:uLnTx/>
                <a:uFillTx/>
                <a:latin typeface="Inria Sans Light" pitchFamily="50" charset="0"/>
                <a:ea typeface="+mn-ea"/>
                <a:cs typeface="+mn-cs"/>
              </a:rPr>
              <a:t> </a:t>
            </a:r>
            <a:r>
              <a:rPr kumimoji="0" lang="en-US" sz="1333" b="0" i="0" u="none" strike="noStrike" kern="0" cap="none" spc="-16" normalizeH="0" baseline="0" noProof="0" dirty="0" err="1">
                <a:ln>
                  <a:noFill/>
                </a:ln>
                <a:solidFill>
                  <a:srgbClr val="0D0C28"/>
                </a:solidFill>
                <a:effectLst/>
                <a:uLnTx/>
                <a:uFillTx/>
                <a:latin typeface="Inria Sans Light" pitchFamily="50" charset="0"/>
                <a:ea typeface="+mn-ea"/>
                <a:cs typeface="+mn-cs"/>
              </a:rPr>
              <a:t>raadplegen</a:t>
            </a:r>
            <a:endParaRPr kumimoji="0" lang="en-US" sz="1333" b="0" i="0" u="none" strike="noStrike" kern="1200" cap="none" spc="0" normalizeH="0" baseline="0" noProof="0" dirty="0">
              <a:ln>
                <a:noFill/>
              </a:ln>
              <a:solidFill>
                <a:prstClr val="black"/>
              </a:solidFill>
              <a:effectLst/>
              <a:uLnTx/>
              <a:uFillTx/>
              <a:latin typeface="Inria Sans Light" pitchFamily="50" charset="0"/>
              <a:ea typeface="+mn-ea"/>
              <a:cs typeface="+mn-cs"/>
            </a:endParaRPr>
          </a:p>
        </p:txBody>
      </p:sp>
      <p:sp>
        <p:nvSpPr>
          <p:cNvPr id="76" name="Text 5">
            <a:extLst>
              <a:ext uri="{FF2B5EF4-FFF2-40B4-BE49-F238E27FC236}">
                <a16:creationId xmlns:a16="http://schemas.microsoft.com/office/drawing/2014/main" id="{93675EF7-F11E-F8D0-D9DE-CC5015B57C93}"/>
              </a:ext>
            </a:extLst>
          </p:cNvPr>
          <p:cNvSpPr/>
          <p:nvPr/>
        </p:nvSpPr>
        <p:spPr>
          <a:xfrm>
            <a:off x="10022641" y="3173902"/>
            <a:ext cx="1808953" cy="578781"/>
          </a:xfrm>
          <a:prstGeom prst="roundRect">
            <a:avLst>
              <a:gd name="adj" fmla="val 80000"/>
            </a:avLst>
          </a:prstGeom>
          <a:solidFill>
            <a:srgbClr val="FFFFFF"/>
          </a:solidFill>
          <a:ln w="3175">
            <a:noFill/>
          </a:ln>
          <a:effectLst>
            <a:outerShdw blurRad="254000" dist="25400" dir="5400000" algn="bl" rotWithShape="0">
              <a:srgbClr val="000000">
                <a:alpha val="20000"/>
              </a:srgbClr>
            </a:outerShdw>
          </a:effectLst>
        </p:spPr>
        <p:txBody>
          <a:bodyPr wrap="square" lIns="97288" tIns="52476" rIns="97288" bIns="52476"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16" normalizeH="0" baseline="0" noProof="0" dirty="0" err="1">
                <a:ln>
                  <a:noFill/>
                </a:ln>
                <a:solidFill>
                  <a:srgbClr val="0D0C28"/>
                </a:solidFill>
                <a:effectLst/>
                <a:uLnTx/>
                <a:uFillTx/>
                <a:latin typeface="Inria Sans Light" pitchFamily="50" charset="0"/>
                <a:ea typeface="+mn-ea"/>
                <a:cs typeface="+mn-cs"/>
              </a:rPr>
              <a:t>Deze</a:t>
            </a:r>
            <a:r>
              <a:rPr lang="en-US" sz="1333" kern="0" spc="-16" dirty="0" err="1">
                <a:solidFill>
                  <a:srgbClr val="0D0C28"/>
                </a:solidFill>
                <a:latin typeface="Inria Sans Light" pitchFamily="50" charset="0"/>
              </a:rPr>
              <a:t>lfde</a:t>
            </a:r>
            <a:r>
              <a:rPr lang="en-US" sz="1333" kern="0" spc="-16" dirty="0">
                <a:solidFill>
                  <a:srgbClr val="0D0C28"/>
                </a:solidFill>
                <a:latin typeface="Inria Sans Light" pitchFamily="50" charset="0"/>
              </a:rPr>
              <a:t> </a:t>
            </a:r>
            <a:r>
              <a:rPr lang="en-US" sz="1333" kern="0" spc="-16" dirty="0" err="1">
                <a:solidFill>
                  <a:srgbClr val="0D0C28"/>
                </a:solidFill>
                <a:latin typeface="Inria Sans Light" pitchFamily="50" charset="0"/>
              </a:rPr>
              <a:t>dag</a:t>
            </a:r>
            <a:r>
              <a:rPr lang="en-US" sz="1333" kern="0" spc="-16" dirty="0">
                <a:solidFill>
                  <a:srgbClr val="0D0C28"/>
                </a:solidFill>
                <a:latin typeface="Inria Sans Light" pitchFamily="50" charset="0"/>
              </a:rPr>
              <a:t> </a:t>
            </a:r>
            <a:r>
              <a:rPr lang="en-US" sz="1333" kern="0" spc="-16" dirty="0" err="1">
                <a:solidFill>
                  <a:srgbClr val="0D0C28"/>
                </a:solidFill>
                <a:latin typeface="Inria Sans Light" pitchFamily="50" charset="0"/>
              </a:rPr>
              <a:t>een</a:t>
            </a:r>
            <a:r>
              <a:rPr lang="en-US" sz="1333" kern="0" spc="-16" dirty="0">
                <a:solidFill>
                  <a:srgbClr val="0D0C28"/>
                </a:solidFill>
                <a:latin typeface="Inria Sans Light" pitchFamily="50" charset="0"/>
              </a:rPr>
              <a:t> consult</a:t>
            </a:r>
            <a:endParaRPr kumimoji="0" lang="en-US" sz="1333" b="0" i="0" u="none" strike="noStrike" kern="1200" cap="none" spc="0" normalizeH="0" baseline="0" noProof="0" dirty="0">
              <a:ln>
                <a:noFill/>
              </a:ln>
              <a:solidFill>
                <a:prstClr val="black"/>
              </a:solidFill>
              <a:effectLst/>
              <a:uLnTx/>
              <a:uFillTx/>
              <a:latin typeface="Inria Sans Light" pitchFamily="50" charset="0"/>
              <a:ea typeface="+mn-ea"/>
              <a:cs typeface="+mn-cs"/>
            </a:endParaRPr>
          </a:p>
        </p:txBody>
      </p:sp>
      <p:sp>
        <p:nvSpPr>
          <p:cNvPr id="79" name="Text 5">
            <a:extLst>
              <a:ext uri="{FF2B5EF4-FFF2-40B4-BE49-F238E27FC236}">
                <a16:creationId xmlns:a16="http://schemas.microsoft.com/office/drawing/2014/main" id="{CA220A51-BB2F-0C4F-3DA5-6A96EAF5D631}"/>
              </a:ext>
            </a:extLst>
          </p:cNvPr>
          <p:cNvSpPr/>
          <p:nvPr/>
        </p:nvSpPr>
        <p:spPr>
          <a:xfrm>
            <a:off x="10033001" y="4986639"/>
            <a:ext cx="1808953" cy="578781"/>
          </a:xfrm>
          <a:prstGeom prst="roundRect">
            <a:avLst>
              <a:gd name="adj" fmla="val 80000"/>
            </a:avLst>
          </a:prstGeom>
          <a:solidFill>
            <a:srgbClr val="FFFFFF"/>
          </a:solidFill>
          <a:ln w="3175">
            <a:noFill/>
          </a:ln>
          <a:effectLst>
            <a:outerShdw blurRad="254000" dist="25400" dir="5400000" algn="bl" rotWithShape="0">
              <a:srgbClr val="000000">
                <a:alpha val="20000"/>
              </a:srgbClr>
            </a:outerShdw>
          </a:effectLst>
        </p:spPr>
        <p:txBody>
          <a:bodyPr wrap="square" lIns="97288" tIns="52476" rIns="97288" bIns="52476"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kern="0" spc="-16" dirty="0" err="1">
                <a:solidFill>
                  <a:srgbClr val="0D0C28"/>
                </a:solidFill>
                <a:latin typeface="Inria Sans Light" pitchFamily="50" charset="0"/>
              </a:rPr>
              <a:t>Ruime</a:t>
            </a:r>
            <a:r>
              <a:rPr lang="en-US" sz="1333" kern="0" spc="-16" dirty="0">
                <a:solidFill>
                  <a:srgbClr val="0D0C28"/>
                </a:solidFill>
                <a:latin typeface="Inria Sans Light" pitchFamily="50" charset="0"/>
              </a:rPr>
              <a:t> consult </a:t>
            </a:r>
            <a:r>
              <a:rPr lang="en-US" sz="1333" kern="0" spc="-16" dirty="0" err="1">
                <a:solidFill>
                  <a:srgbClr val="0D0C28"/>
                </a:solidFill>
                <a:latin typeface="Inria Sans Light" pitchFamily="50" charset="0"/>
              </a:rPr>
              <a:t>tijden</a:t>
            </a:r>
            <a:endParaRPr kumimoji="0" lang="en-US" sz="1333" b="0" i="0" u="none" strike="noStrike" kern="1200" cap="none" spc="0" normalizeH="0" baseline="0" noProof="0" dirty="0">
              <a:ln>
                <a:noFill/>
              </a:ln>
              <a:solidFill>
                <a:prstClr val="black"/>
              </a:solidFill>
              <a:effectLst/>
              <a:uLnTx/>
              <a:uFillTx/>
              <a:latin typeface="Inria Sans Light" pitchFamily="50" charset="0"/>
              <a:ea typeface="+mn-ea"/>
              <a:cs typeface="+mn-cs"/>
            </a:endParaRPr>
          </a:p>
        </p:txBody>
      </p:sp>
    </p:spTree>
    <p:extLst>
      <p:ext uri="{BB962C8B-B14F-4D97-AF65-F5344CB8AC3E}">
        <p14:creationId xmlns:p14="http://schemas.microsoft.com/office/powerpoint/2010/main" val="28676598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11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62B6B3F-BBEF-A410-0607-E7D6CAC0ECCE}"/>
              </a:ext>
            </a:extLst>
          </p:cNvPr>
          <p:cNvSpPr/>
          <p:nvPr/>
        </p:nvSpPr>
        <p:spPr>
          <a:xfrm>
            <a:off x="7472" y="0"/>
            <a:ext cx="12200403" cy="6858000"/>
          </a:xfrm>
          <a:prstGeom prst="rect">
            <a:avLst/>
          </a:prstGeom>
          <a:solidFill>
            <a:srgbClr val="FDC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p>
        </p:txBody>
      </p:sp>
      <p:sp>
        <p:nvSpPr>
          <p:cNvPr id="8" name="Vrije vorm 3">
            <a:extLst>
              <a:ext uri="{FF2B5EF4-FFF2-40B4-BE49-F238E27FC236}">
                <a16:creationId xmlns:a16="http://schemas.microsoft.com/office/drawing/2014/main" id="{59E46F17-AC86-3FD0-F369-8068933D1B48}"/>
              </a:ext>
            </a:extLst>
          </p:cNvPr>
          <p:cNvSpPr/>
          <p:nvPr/>
        </p:nvSpPr>
        <p:spPr>
          <a:xfrm>
            <a:off x="3175" y="6016668"/>
            <a:ext cx="12204700" cy="85138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 name="connsiteX0" fmla="*/ 0 w 12213724"/>
              <a:gd name="connsiteY0" fmla="*/ 652711 h 888476"/>
              <a:gd name="connsiteX1" fmla="*/ 12213724 w 12213724"/>
              <a:gd name="connsiteY1" fmla="*/ 0 h 888476"/>
              <a:gd name="connsiteX2" fmla="*/ 12210549 w 12213724"/>
              <a:gd name="connsiteY2" fmla="*/ 888476 h 888476"/>
              <a:gd name="connsiteX3" fmla="*/ 372684 w 12213724"/>
              <a:gd name="connsiteY3" fmla="*/ 803320 h 888476"/>
              <a:gd name="connsiteX4" fmla="*/ 0 w 12213724"/>
              <a:gd name="connsiteY4" fmla="*/ 652711 h 888476"/>
              <a:gd name="connsiteX0" fmla="*/ 5003 w 12218727"/>
              <a:gd name="connsiteY0" fmla="*/ 652711 h 888476"/>
              <a:gd name="connsiteX1" fmla="*/ 12218727 w 12218727"/>
              <a:gd name="connsiteY1" fmla="*/ 0 h 888476"/>
              <a:gd name="connsiteX2" fmla="*/ 12215552 w 12218727"/>
              <a:gd name="connsiteY2" fmla="*/ 888476 h 888476"/>
              <a:gd name="connsiteX3" fmla="*/ 0 w 12218727"/>
              <a:gd name="connsiteY3" fmla="*/ 809946 h 888476"/>
              <a:gd name="connsiteX4" fmla="*/ 5003 w 12218727"/>
              <a:gd name="connsiteY4" fmla="*/ 652711 h 888476"/>
              <a:gd name="connsiteX0" fmla="*/ 5003 w 12480598"/>
              <a:gd name="connsiteY0" fmla="*/ 652711 h 809946"/>
              <a:gd name="connsiteX1" fmla="*/ 12218727 w 12480598"/>
              <a:gd name="connsiteY1" fmla="*/ 0 h 809946"/>
              <a:gd name="connsiteX2" fmla="*/ 12480595 w 12480598"/>
              <a:gd name="connsiteY2" fmla="*/ 378267 h 809946"/>
              <a:gd name="connsiteX3" fmla="*/ 0 w 12480598"/>
              <a:gd name="connsiteY3" fmla="*/ 809946 h 809946"/>
              <a:gd name="connsiteX4" fmla="*/ 5003 w 12480598"/>
              <a:gd name="connsiteY4" fmla="*/ 652711 h 809946"/>
              <a:gd name="connsiteX0" fmla="*/ 5003 w 12480595"/>
              <a:gd name="connsiteY0" fmla="*/ 652711 h 809946"/>
              <a:gd name="connsiteX1" fmla="*/ 12218727 w 12480595"/>
              <a:gd name="connsiteY1" fmla="*/ 0 h 809946"/>
              <a:gd name="connsiteX2" fmla="*/ 12480595 w 12480595"/>
              <a:gd name="connsiteY2" fmla="*/ 378267 h 809946"/>
              <a:gd name="connsiteX3" fmla="*/ 0 w 12480595"/>
              <a:gd name="connsiteY3" fmla="*/ 809946 h 809946"/>
              <a:gd name="connsiteX4" fmla="*/ 5003 w 12480595"/>
              <a:gd name="connsiteY4" fmla="*/ 652711 h 809946"/>
              <a:gd name="connsiteX0" fmla="*/ 5003 w 12228803"/>
              <a:gd name="connsiteY0" fmla="*/ 652711 h 809946"/>
              <a:gd name="connsiteX1" fmla="*/ 12218727 w 12228803"/>
              <a:gd name="connsiteY1" fmla="*/ 0 h 809946"/>
              <a:gd name="connsiteX2" fmla="*/ 12228803 w 12228803"/>
              <a:gd name="connsiteY2" fmla="*/ 802337 h 809946"/>
              <a:gd name="connsiteX3" fmla="*/ 0 w 12228803"/>
              <a:gd name="connsiteY3" fmla="*/ 809946 h 809946"/>
              <a:gd name="connsiteX4" fmla="*/ 5003 w 12228803"/>
              <a:gd name="connsiteY4" fmla="*/ 652711 h 809946"/>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5628" h="803433">
                <a:moveTo>
                  <a:pt x="1828" y="652711"/>
                </a:moveTo>
                <a:lnTo>
                  <a:pt x="12215552" y="0"/>
                </a:lnTo>
                <a:cubicBezTo>
                  <a:pt x="12214494" y="296159"/>
                  <a:pt x="12220060" y="830857"/>
                  <a:pt x="12225628" y="802337"/>
                </a:cubicBezTo>
                <a:lnTo>
                  <a:pt x="0" y="801802"/>
                </a:lnTo>
                <a:cubicBezTo>
                  <a:pt x="4843" y="805022"/>
                  <a:pt x="6510" y="652666"/>
                  <a:pt x="1828" y="652711"/>
                </a:cubicBezTo>
                <a:close/>
              </a:path>
            </a:pathLst>
          </a:custGeom>
          <a:solidFill>
            <a:schemeClr val="bg1"/>
          </a:solidFill>
          <a:ln w="12700" cap="flat" cmpd="sng" algn="ctr">
            <a:noFill/>
            <a:prstDash val="solid"/>
            <a:miter lim="800000"/>
          </a:ln>
          <a:effectLst/>
        </p:spPr>
        <p:txBody>
          <a:bodyPr rtlCol="0" anchor="ctr"/>
          <a:lstStyle/>
          <a:p>
            <a:pPr algn="ctr" defTabSz="1219140">
              <a:defRPr/>
            </a:pPr>
            <a:endParaRPr lang="nl-NL" sz="2400" kern="0">
              <a:solidFill>
                <a:srgbClr val="FFFFFF"/>
              </a:solidFill>
              <a:latin typeface="Inria Sans Light"/>
            </a:endParaRPr>
          </a:p>
        </p:txBody>
      </p:sp>
      <p:sp>
        <p:nvSpPr>
          <p:cNvPr id="74" name="Text 4">
            <a:extLst>
              <a:ext uri="{FF2B5EF4-FFF2-40B4-BE49-F238E27FC236}">
                <a16:creationId xmlns:a16="http://schemas.microsoft.com/office/drawing/2014/main" id="{2784E876-F4A0-8AF2-B5A3-BB76876EB73D}"/>
              </a:ext>
            </a:extLst>
          </p:cNvPr>
          <p:cNvSpPr/>
          <p:nvPr/>
        </p:nvSpPr>
        <p:spPr>
          <a:xfrm>
            <a:off x="627845" y="440891"/>
            <a:ext cx="9178508" cy="755559"/>
          </a:xfrm>
          <a:prstGeom prst="rect">
            <a:avLst/>
          </a:prstGeom>
          <a:noFill/>
          <a:ln/>
        </p:spPr>
        <p:txBody>
          <a:bodyPr wrap="square" lIns="0" tIns="0" rIns="0" bIns="0" rtlCol="0" anchor="t"/>
          <a:lstStyle/>
          <a:p>
            <a:pPr defTabSz="1219140">
              <a:lnSpc>
                <a:spcPts val="3000"/>
              </a:lnSpc>
              <a:defRPr/>
            </a:pPr>
            <a:r>
              <a:rPr lang="nl-NL" sz="3067" b="1" kern="0">
                <a:solidFill>
                  <a:srgbClr val="0D0C28"/>
                </a:solidFill>
                <a:latin typeface="Inria Sans" pitchFamily="50" charset="0"/>
                <a:cs typeface="Poppins" pitchFamily="34" charset="-120"/>
              </a:rPr>
              <a:t>Voor het lichaam</a:t>
            </a:r>
          </a:p>
        </p:txBody>
      </p:sp>
      <p:sp>
        <p:nvSpPr>
          <p:cNvPr id="3" name="Rechthoek 2">
            <a:extLst>
              <a:ext uri="{FF2B5EF4-FFF2-40B4-BE49-F238E27FC236}">
                <a16:creationId xmlns:a16="http://schemas.microsoft.com/office/drawing/2014/main" id="{BBD9E642-B960-B58F-94EC-612DBE568BF1}"/>
              </a:ext>
            </a:extLst>
          </p:cNvPr>
          <p:cNvSpPr/>
          <p:nvPr/>
        </p:nvSpPr>
        <p:spPr>
          <a:xfrm>
            <a:off x="266277" y="6017311"/>
            <a:ext cx="825633" cy="292388"/>
          </a:xfrm>
          <a:prstGeom prst="rect">
            <a:avLst/>
          </a:prstGeom>
        </p:spPr>
        <p:txBody>
          <a:bodyPr wrap="square" lIns="0" rIns="120000" bIns="0" anchor="b" anchorCtr="0">
            <a:spAutoFit/>
          </a:bodyPr>
          <a:lstStyle/>
          <a:p>
            <a:pPr defTabSz="1219140">
              <a:defRPr/>
            </a:pPr>
            <a:fld id="{478F02DA-AB65-4DE3-8C32-C1DFFF12922F}" type="slidenum">
              <a:rPr lang="nl-NL" sz="1600">
                <a:solidFill>
                  <a:srgbClr val="000000">
                    <a:lumMod val="50000"/>
                    <a:lumOff val="50000"/>
                  </a:srgbClr>
                </a:solidFill>
                <a:latin typeface="Inria Sans Light" pitchFamily="50" charset="0"/>
                <a:cs typeface="Arial" pitchFamily="34" charset="0"/>
              </a:rPr>
              <a:pPr defTabSz="1219140">
                <a:defRPr/>
              </a:pPr>
              <a:t>3</a:t>
            </a:fld>
            <a:endParaRPr lang="nl-NL" sz="1600">
              <a:solidFill>
                <a:srgbClr val="000000">
                  <a:lumMod val="50000"/>
                  <a:lumOff val="50000"/>
                </a:srgbClr>
              </a:solidFill>
              <a:latin typeface="Inria Sans Light" pitchFamily="50" charset="0"/>
              <a:cs typeface="Arial" pitchFamily="34" charset="0"/>
            </a:endParaRPr>
          </a:p>
        </p:txBody>
      </p:sp>
      <p:pic>
        <p:nvPicPr>
          <p:cNvPr id="71" name="Image 2" descr="https://pitch-assets-ccb95893-de3f-4266-973c-20049231b248.s3.eu-west-1.amazonaws.com/8a4eed37-b16b-4293-9f41-b1a7ccc2e792?pitch-bytes=23147&amp;pitch-content-type=image%2Fpng">
            <a:extLst>
              <a:ext uri="{FF2B5EF4-FFF2-40B4-BE49-F238E27FC236}">
                <a16:creationId xmlns:a16="http://schemas.microsoft.com/office/drawing/2014/main" id="{BB8F9C1A-A97D-79AA-E502-6113F92AF521}"/>
              </a:ext>
            </a:extLst>
          </p:cNvPr>
          <p:cNvPicPr>
            <a:picLocks noChangeAspect="1"/>
          </p:cNvPicPr>
          <p:nvPr/>
        </p:nvPicPr>
        <p:blipFill>
          <a:blip r:embed="rId3"/>
          <a:srcRect/>
          <a:stretch/>
        </p:blipFill>
        <p:spPr>
          <a:xfrm>
            <a:off x="9674840" y="6262871"/>
            <a:ext cx="1808840" cy="336000"/>
          </a:xfrm>
          <a:prstGeom prst="rect">
            <a:avLst/>
          </a:prstGeom>
        </p:spPr>
      </p:pic>
      <p:pic>
        <p:nvPicPr>
          <p:cNvPr id="17" name="Afbeelding 16" descr="Afbeelding met symbool, schermopname, ontwerp&#10;&#10;Automatisch gegenereerde beschrijving">
            <a:extLst>
              <a:ext uri="{FF2B5EF4-FFF2-40B4-BE49-F238E27FC236}">
                <a16:creationId xmlns:a16="http://schemas.microsoft.com/office/drawing/2014/main" id="{BDBCD1D8-2D7A-F49E-86A4-C83BFC6750E9}"/>
              </a:ext>
            </a:extLst>
          </p:cNvPr>
          <p:cNvPicPr>
            <a:picLocks noChangeAspect="1"/>
          </p:cNvPicPr>
          <p:nvPr/>
        </p:nvPicPr>
        <p:blipFill>
          <a:blip r:embed="rId4">
            <a:duotone>
              <a:prstClr val="black"/>
              <a:schemeClr val="accent4">
                <a:tint val="45000"/>
                <a:satMod val="400000"/>
              </a:schemeClr>
            </a:duotone>
          </a:blip>
          <a:stretch>
            <a:fillRect/>
          </a:stretch>
        </p:blipFill>
        <p:spPr>
          <a:xfrm>
            <a:off x="3338729" y="1803170"/>
            <a:ext cx="640951" cy="640951"/>
          </a:xfrm>
          <a:prstGeom prst="rect">
            <a:avLst/>
          </a:prstGeom>
        </p:spPr>
      </p:pic>
      <p:pic>
        <p:nvPicPr>
          <p:cNvPr id="25" name="Afbeelding 24" descr="Afbeelding met symbool, logo, Lettertype, Graphics&#10;&#10;Automatisch gegenereerde beschrijving">
            <a:extLst>
              <a:ext uri="{FF2B5EF4-FFF2-40B4-BE49-F238E27FC236}">
                <a16:creationId xmlns:a16="http://schemas.microsoft.com/office/drawing/2014/main" id="{DF440A3E-C6CE-967F-58BE-B12B26B98462}"/>
              </a:ext>
            </a:extLst>
          </p:cNvPr>
          <p:cNvPicPr>
            <a:picLocks noChangeAspect="1"/>
          </p:cNvPicPr>
          <p:nvPr/>
        </p:nvPicPr>
        <p:blipFill>
          <a:blip r:embed="rId5"/>
          <a:stretch>
            <a:fillRect/>
          </a:stretch>
        </p:blipFill>
        <p:spPr>
          <a:xfrm>
            <a:off x="3387536" y="3700703"/>
            <a:ext cx="632696" cy="632696"/>
          </a:xfrm>
          <a:prstGeom prst="rect">
            <a:avLst/>
          </a:prstGeom>
        </p:spPr>
      </p:pic>
      <p:pic>
        <p:nvPicPr>
          <p:cNvPr id="27" name="Afbeelding 26" descr="Afbeelding met cirkel, zwart, zwart-wit, Graphics&#10;&#10;Automatisch gegenereerde beschrijving">
            <a:extLst>
              <a:ext uri="{FF2B5EF4-FFF2-40B4-BE49-F238E27FC236}">
                <a16:creationId xmlns:a16="http://schemas.microsoft.com/office/drawing/2014/main" id="{D1CE045D-CEB2-1302-B1AF-2ED756C69FFE}"/>
              </a:ext>
            </a:extLst>
          </p:cNvPr>
          <p:cNvPicPr>
            <a:picLocks noChangeAspect="1"/>
          </p:cNvPicPr>
          <p:nvPr/>
        </p:nvPicPr>
        <p:blipFill>
          <a:blip r:embed="rId6"/>
          <a:stretch>
            <a:fillRect/>
          </a:stretch>
        </p:blipFill>
        <p:spPr>
          <a:xfrm>
            <a:off x="3369104" y="2910964"/>
            <a:ext cx="561765" cy="561765"/>
          </a:xfrm>
          <a:prstGeom prst="rect">
            <a:avLst/>
          </a:prstGeom>
        </p:spPr>
      </p:pic>
      <p:sp>
        <p:nvSpPr>
          <p:cNvPr id="9" name="Tekstvak 8">
            <a:extLst>
              <a:ext uri="{FF2B5EF4-FFF2-40B4-BE49-F238E27FC236}">
                <a16:creationId xmlns:a16="http://schemas.microsoft.com/office/drawing/2014/main" id="{547EDAB0-9352-654C-5B0B-5DF14BC78C15}"/>
              </a:ext>
            </a:extLst>
          </p:cNvPr>
          <p:cNvSpPr txBox="1"/>
          <p:nvPr/>
        </p:nvSpPr>
        <p:spPr>
          <a:xfrm>
            <a:off x="4156956" y="1637341"/>
            <a:ext cx="7407200" cy="2893100"/>
          </a:xfrm>
          <a:prstGeom prst="rect">
            <a:avLst/>
          </a:prstGeom>
          <a:noFill/>
        </p:spPr>
        <p:txBody>
          <a:bodyPr wrap="square">
            <a:spAutoFit/>
          </a:bodyPr>
          <a:lstStyle/>
          <a:p>
            <a:pPr defTabSz="914377">
              <a:defRPr/>
            </a:pPr>
            <a:r>
              <a:rPr lang="nl-NL" sz="1400" b="1" dirty="0">
                <a:solidFill>
                  <a:srgbClr val="000000"/>
                </a:solidFill>
                <a:latin typeface="Inria Sans" pitchFamily="50" charset="0"/>
              </a:rPr>
              <a:t>Praat uitgebreid met een arts</a:t>
            </a:r>
          </a:p>
          <a:p>
            <a:pPr defTabSz="914377">
              <a:defRPr/>
            </a:pPr>
            <a:r>
              <a:rPr lang="nl-NL" sz="1400" dirty="0">
                <a:solidFill>
                  <a:srgbClr val="000000"/>
                </a:solidFill>
                <a:latin typeface="Inria Sans" pitchFamily="50" charset="0"/>
              </a:rPr>
              <a:t>Voor alle fysieke vragen, zorgen of klachten kun je terecht bij onze online artsen. </a:t>
            </a:r>
            <a:r>
              <a:rPr lang="nl-NL" sz="1400" b="1" dirty="0">
                <a:solidFill>
                  <a:srgbClr val="000000"/>
                </a:solidFill>
                <a:latin typeface="Inria Sans" pitchFamily="50" charset="0"/>
              </a:rPr>
              <a:t>Waar en wanneer jou dat uitkomt</a:t>
            </a:r>
            <a:r>
              <a:rPr lang="nl-NL" sz="1400" dirty="0">
                <a:solidFill>
                  <a:srgbClr val="000000"/>
                </a:solidFill>
                <a:latin typeface="Inria Sans" pitchFamily="50" charset="0"/>
              </a:rPr>
              <a:t>. De LifeCheck arts neemt </a:t>
            </a:r>
            <a:r>
              <a:rPr lang="nl-NL" sz="1400" b="1" dirty="0">
                <a:solidFill>
                  <a:srgbClr val="000000"/>
                </a:solidFill>
                <a:latin typeface="Inria Sans" pitchFamily="50" charset="0"/>
              </a:rPr>
              <a:t>uitgebreid de tijd </a:t>
            </a:r>
            <a:r>
              <a:rPr lang="nl-NL" sz="1400" dirty="0">
                <a:solidFill>
                  <a:srgbClr val="000000"/>
                </a:solidFill>
                <a:latin typeface="Inria Sans" pitchFamily="50" charset="0"/>
              </a:rPr>
              <a:t>om de situatie te bespreken, zonder wachttijd of tussenkomst van een assistente. </a:t>
            </a: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pitchFamily="50" charset="0"/>
              </a:rPr>
              <a:t>Symptomenchecker</a:t>
            </a:r>
          </a:p>
          <a:p>
            <a:pPr defTabSz="914377">
              <a:defRPr/>
            </a:pPr>
            <a:r>
              <a:rPr lang="nl-NL" sz="1400" dirty="0">
                <a:solidFill>
                  <a:srgbClr val="000000"/>
                </a:solidFill>
                <a:latin typeface="Inria Sans" pitchFamily="50" charset="0"/>
              </a:rPr>
              <a:t>De  symptomenchecker helpt je om op basis van je symptomen een indicatie te geven van een mogelijke aandoening. </a:t>
            </a: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pitchFamily="50" charset="0"/>
              </a:rPr>
              <a:t>Zorg voor vrouwen</a:t>
            </a:r>
          </a:p>
          <a:p>
            <a:pPr defTabSz="914377">
              <a:defRPr/>
            </a:pPr>
            <a:r>
              <a:rPr lang="nl-NL" sz="1400" dirty="0">
                <a:solidFill>
                  <a:srgbClr val="000000"/>
                </a:solidFill>
                <a:latin typeface="Inria Sans" pitchFamily="50" charset="0"/>
              </a:rPr>
              <a:t>Zorg voor vrouwen omvat diverse onderwerpen. Een daarvan is de overgang. Deze fase kan voor vrouwen verschillende klachten opleveren. Deze bespreken is niet altijd even makkelijk. Bespreek jouw situatie laagdrempelig en vertrouwd met een arts, diëtist of mental coach.</a:t>
            </a:r>
          </a:p>
        </p:txBody>
      </p:sp>
      <p:sp>
        <p:nvSpPr>
          <p:cNvPr id="12" name="Ovaal 11">
            <a:extLst>
              <a:ext uri="{FF2B5EF4-FFF2-40B4-BE49-F238E27FC236}">
                <a16:creationId xmlns:a16="http://schemas.microsoft.com/office/drawing/2014/main" id="{6FD28227-9585-960D-C00B-50E0F4BF99F3}"/>
              </a:ext>
            </a:extLst>
          </p:cNvPr>
          <p:cNvSpPr/>
          <p:nvPr/>
        </p:nvSpPr>
        <p:spPr>
          <a:xfrm>
            <a:off x="1008909" y="1816232"/>
            <a:ext cx="1873795" cy="1873795"/>
          </a:xfrm>
          <a:prstGeom prst="ellipse">
            <a:avLst/>
          </a:prstGeom>
          <a:blipFill>
            <a:blip r:embed="rId7"/>
            <a:stretch>
              <a:fillRect/>
            </a:stretch>
          </a:blipFill>
          <a:ln w="508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Tree>
    <p:extLst>
      <p:ext uri="{BB962C8B-B14F-4D97-AF65-F5344CB8AC3E}">
        <p14:creationId xmlns:p14="http://schemas.microsoft.com/office/powerpoint/2010/main" val="40564262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62B6B3F-BBEF-A410-0607-E7D6CAC0ECCE}"/>
              </a:ext>
            </a:extLst>
          </p:cNvPr>
          <p:cNvSpPr/>
          <p:nvPr/>
        </p:nvSpPr>
        <p:spPr>
          <a:xfrm>
            <a:off x="-4104" y="-84843"/>
            <a:ext cx="12200403" cy="6858000"/>
          </a:xfrm>
          <a:prstGeom prst="rect">
            <a:avLst/>
          </a:prstGeom>
          <a:solidFill>
            <a:srgbClr val="FDC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p>
        </p:txBody>
      </p:sp>
      <p:sp>
        <p:nvSpPr>
          <p:cNvPr id="8" name="Vrije vorm 3">
            <a:extLst>
              <a:ext uri="{FF2B5EF4-FFF2-40B4-BE49-F238E27FC236}">
                <a16:creationId xmlns:a16="http://schemas.microsoft.com/office/drawing/2014/main" id="{59E46F17-AC86-3FD0-F369-8068933D1B48}"/>
              </a:ext>
            </a:extLst>
          </p:cNvPr>
          <p:cNvSpPr/>
          <p:nvPr/>
        </p:nvSpPr>
        <p:spPr>
          <a:xfrm>
            <a:off x="3175" y="6016668"/>
            <a:ext cx="12204700" cy="85138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 name="connsiteX0" fmla="*/ 0 w 12213724"/>
              <a:gd name="connsiteY0" fmla="*/ 652711 h 888476"/>
              <a:gd name="connsiteX1" fmla="*/ 12213724 w 12213724"/>
              <a:gd name="connsiteY1" fmla="*/ 0 h 888476"/>
              <a:gd name="connsiteX2" fmla="*/ 12210549 w 12213724"/>
              <a:gd name="connsiteY2" fmla="*/ 888476 h 888476"/>
              <a:gd name="connsiteX3" fmla="*/ 372684 w 12213724"/>
              <a:gd name="connsiteY3" fmla="*/ 803320 h 888476"/>
              <a:gd name="connsiteX4" fmla="*/ 0 w 12213724"/>
              <a:gd name="connsiteY4" fmla="*/ 652711 h 888476"/>
              <a:gd name="connsiteX0" fmla="*/ 5003 w 12218727"/>
              <a:gd name="connsiteY0" fmla="*/ 652711 h 888476"/>
              <a:gd name="connsiteX1" fmla="*/ 12218727 w 12218727"/>
              <a:gd name="connsiteY1" fmla="*/ 0 h 888476"/>
              <a:gd name="connsiteX2" fmla="*/ 12215552 w 12218727"/>
              <a:gd name="connsiteY2" fmla="*/ 888476 h 888476"/>
              <a:gd name="connsiteX3" fmla="*/ 0 w 12218727"/>
              <a:gd name="connsiteY3" fmla="*/ 809946 h 888476"/>
              <a:gd name="connsiteX4" fmla="*/ 5003 w 12218727"/>
              <a:gd name="connsiteY4" fmla="*/ 652711 h 888476"/>
              <a:gd name="connsiteX0" fmla="*/ 5003 w 12480598"/>
              <a:gd name="connsiteY0" fmla="*/ 652711 h 809946"/>
              <a:gd name="connsiteX1" fmla="*/ 12218727 w 12480598"/>
              <a:gd name="connsiteY1" fmla="*/ 0 h 809946"/>
              <a:gd name="connsiteX2" fmla="*/ 12480595 w 12480598"/>
              <a:gd name="connsiteY2" fmla="*/ 378267 h 809946"/>
              <a:gd name="connsiteX3" fmla="*/ 0 w 12480598"/>
              <a:gd name="connsiteY3" fmla="*/ 809946 h 809946"/>
              <a:gd name="connsiteX4" fmla="*/ 5003 w 12480598"/>
              <a:gd name="connsiteY4" fmla="*/ 652711 h 809946"/>
              <a:gd name="connsiteX0" fmla="*/ 5003 w 12480595"/>
              <a:gd name="connsiteY0" fmla="*/ 652711 h 809946"/>
              <a:gd name="connsiteX1" fmla="*/ 12218727 w 12480595"/>
              <a:gd name="connsiteY1" fmla="*/ 0 h 809946"/>
              <a:gd name="connsiteX2" fmla="*/ 12480595 w 12480595"/>
              <a:gd name="connsiteY2" fmla="*/ 378267 h 809946"/>
              <a:gd name="connsiteX3" fmla="*/ 0 w 12480595"/>
              <a:gd name="connsiteY3" fmla="*/ 809946 h 809946"/>
              <a:gd name="connsiteX4" fmla="*/ 5003 w 12480595"/>
              <a:gd name="connsiteY4" fmla="*/ 652711 h 809946"/>
              <a:gd name="connsiteX0" fmla="*/ 5003 w 12228803"/>
              <a:gd name="connsiteY0" fmla="*/ 652711 h 809946"/>
              <a:gd name="connsiteX1" fmla="*/ 12218727 w 12228803"/>
              <a:gd name="connsiteY1" fmla="*/ 0 h 809946"/>
              <a:gd name="connsiteX2" fmla="*/ 12228803 w 12228803"/>
              <a:gd name="connsiteY2" fmla="*/ 802337 h 809946"/>
              <a:gd name="connsiteX3" fmla="*/ 0 w 12228803"/>
              <a:gd name="connsiteY3" fmla="*/ 809946 h 809946"/>
              <a:gd name="connsiteX4" fmla="*/ 5003 w 12228803"/>
              <a:gd name="connsiteY4" fmla="*/ 652711 h 809946"/>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5628" h="803433">
                <a:moveTo>
                  <a:pt x="1828" y="652711"/>
                </a:moveTo>
                <a:lnTo>
                  <a:pt x="12215552" y="0"/>
                </a:lnTo>
                <a:cubicBezTo>
                  <a:pt x="12214494" y="296159"/>
                  <a:pt x="12220060" y="830857"/>
                  <a:pt x="12225628" y="802337"/>
                </a:cubicBezTo>
                <a:lnTo>
                  <a:pt x="0" y="801802"/>
                </a:lnTo>
                <a:cubicBezTo>
                  <a:pt x="4843" y="805022"/>
                  <a:pt x="6510" y="652666"/>
                  <a:pt x="1828" y="652711"/>
                </a:cubicBezTo>
                <a:close/>
              </a:path>
            </a:pathLst>
          </a:custGeom>
          <a:solidFill>
            <a:schemeClr val="bg1"/>
          </a:solidFill>
          <a:ln w="12700" cap="flat" cmpd="sng" algn="ctr">
            <a:noFill/>
            <a:prstDash val="solid"/>
            <a:miter lim="800000"/>
          </a:ln>
          <a:effectLst/>
        </p:spPr>
        <p:txBody>
          <a:bodyPr rtlCol="0" anchor="ctr"/>
          <a:lstStyle/>
          <a:p>
            <a:pPr algn="ctr" defTabSz="1219140">
              <a:defRPr/>
            </a:pPr>
            <a:endParaRPr lang="nl-NL" sz="2400" kern="0">
              <a:solidFill>
                <a:srgbClr val="FFFFFF"/>
              </a:solidFill>
              <a:latin typeface="Inria Sans Light"/>
            </a:endParaRPr>
          </a:p>
        </p:txBody>
      </p:sp>
      <p:sp>
        <p:nvSpPr>
          <p:cNvPr id="74" name="Text 4">
            <a:extLst>
              <a:ext uri="{FF2B5EF4-FFF2-40B4-BE49-F238E27FC236}">
                <a16:creationId xmlns:a16="http://schemas.microsoft.com/office/drawing/2014/main" id="{2784E876-F4A0-8AF2-B5A3-BB76876EB73D}"/>
              </a:ext>
            </a:extLst>
          </p:cNvPr>
          <p:cNvSpPr/>
          <p:nvPr/>
        </p:nvSpPr>
        <p:spPr>
          <a:xfrm>
            <a:off x="627845" y="440891"/>
            <a:ext cx="9178508" cy="755559"/>
          </a:xfrm>
          <a:prstGeom prst="rect">
            <a:avLst/>
          </a:prstGeom>
          <a:noFill/>
          <a:ln/>
        </p:spPr>
        <p:txBody>
          <a:bodyPr wrap="square" lIns="0" tIns="0" rIns="0" bIns="0" rtlCol="0" anchor="t"/>
          <a:lstStyle/>
          <a:p>
            <a:pPr defTabSz="1219140">
              <a:lnSpc>
                <a:spcPts val="3000"/>
              </a:lnSpc>
              <a:defRPr/>
            </a:pPr>
            <a:r>
              <a:rPr lang="nl-NL" sz="3067" b="1" kern="0">
                <a:solidFill>
                  <a:srgbClr val="0D0C28"/>
                </a:solidFill>
                <a:latin typeface="Inria Sans" pitchFamily="50" charset="0"/>
                <a:cs typeface="Poppins" pitchFamily="34" charset="-120"/>
              </a:rPr>
              <a:t>Voor de geest</a:t>
            </a:r>
          </a:p>
        </p:txBody>
      </p:sp>
      <p:sp>
        <p:nvSpPr>
          <p:cNvPr id="3" name="Rechthoek 2">
            <a:extLst>
              <a:ext uri="{FF2B5EF4-FFF2-40B4-BE49-F238E27FC236}">
                <a16:creationId xmlns:a16="http://schemas.microsoft.com/office/drawing/2014/main" id="{BBD9E642-B960-B58F-94EC-612DBE568BF1}"/>
              </a:ext>
            </a:extLst>
          </p:cNvPr>
          <p:cNvSpPr/>
          <p:nvPr/>
        </p:nvSpPr>
        <p:spPr>
          <a:xfrm>
            <a:off x="183081" y="6097208"/>
            <a:ext cx="825633" cy="292388"/>
          </a:xfrm>
          <a:prstGeom prst="rect">
            <a:avLst/>
          </a:prstGeom>
        </p:spPr>
        <p:txBody>
          <a:bodyPr wrap="square" lIns="0" rIns="120000" bIns="0" anchor="b" anchorCtr="0">
            <a:spAutoFit/>
          </a:bodyPr>
          <a:lstStyle/>
          <a:p>
            <a:pPr defTabSz="1219140">
              <a:defRPr/>
            </a:pPr>
            <a:fld id="{478F02DA-AB65-4DE3-8C32-C1DFFF12922F}" type="slidenum">
              <a:rPr lang="nl-NL" sz="1600">
                <a:solidFill>
                  <a:srgbClr val="000000">
                    <a:lumMod val="50000"/>
                    <a:lumOff val="50000"/>
                  </a:srgbClr>
                </a:solidFill>
                <a:latin typeface="Inria Sans Light" pitchFamily="50" charset="0"/>
                <a:cs typeface="Arial" pitchFamily="34" charset="0"/>
              </a:rPr>
              <a:pPr defTabSz="1219140">
                <a:defRPr/>
              </a:pPr>
              <a:t>4</a:t>
            </a:fld>
            <a:endParaRPr lang="nl-NL" sz="1600">
              <a:solidFill>
                <a:srgbClr val="000000">
                  <a:lumMod val="50000"/>
                  <a:lumOff val="50000"/>
                </a:srgbClr>
              </a:solidFill>
              <a:latin typeface="Inria Sans Light" pitchFamily="50" charset="0"/>
              <a:cs typeface="Arial" pitchFamily="34" charset="0"/>
            </a:endParaRPr>
          </a:p>
        </p:txBody>
      </p:sp>
      <p:sp>
        <p:nvSpPr>
          <p:cNvPr id="56" name="AutoShape 18" descr="Voor je lichaam">
            <a:extLst>
              <a:ext uri="{FF2B5EF4-FFF2-40B4-BE49-F238E27FC236}">
                <a16:creationId xmlns:a16="http://schemas.microsoft.com/office/drawing/2014/main" id="{BD9DF8C0-4920-16D4-7E7D-514D8F5DE127}"/>
              </a:ext>
            </a:extLst>
          </p:cNvPr>
          <p:cNvSpPr>
            <a:spLocks noChangeAspect="1" noChangeArrowheads="1"/>
          </p:cNvSpPr>
          <p:nvPr/>
        </p:nvSpPr>
        <p:spPr bwMode="auto">
          <a:xfrm>
            <a:off x="2357844" y="2971275"/>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nl-NL" sz="2400"/>
          </a:p>
        </p:txBody>
      </p:sp>
      <p:pic>
        <p:nvPicPr>
          <p:cNvPr id="71" name="Image 2" descr="https://pitch-assets-ccb95893-de3f-4266-973c-20049231b248.s3.eu-west-1.amazonaws.com/8a4eed37-b16b-4293-9f41-b1a7ccc2e792?pitch-bytes=23147&amp;pitch-content-type=image%2Fpng">
            <a:extLst>
              <a:ext uri="{FF2B5EF4-FFF2-40B4-BE49-F238E27FC236}">
                <a16:creationId xmlns:a16="http://schemas.microsoft.com/office/drawing/2014/main" id="{BB8F9C1A-A97D-79AA-E502-6113F92AF521}"/>
              </a:ext>
            </a:extLst>
          </p:cNvPr>
          <p:cNvPicPr>
            <a:picLocks noChangeAspect="1"/>
          </p:cNvPicPr>
          <p:nvPr/>
        </p:nvPicPr>
        <p:blipFill>
          <a:blip r:embed="rId3"/>
          <a:srcRect/>
          <a:stretch/>
        </p:blipFill>
        <p:spPr>
          <a:xfrm>
            <a:off x="10299156" y="6331463"/>
            <a:ext cx="1808840" cy="336000"/>
          </a:xfrm>
          <a:prstGeom prst="rect">
            <a:avLst/>
          </a:prstGeom>
        </p:spPr>
      </p:pic>
      <p:pic>
        <p:nvPicPr>
          <p:cNvPr id="73" name="Afbeelding 72" descr="Afbeelding met pijl&#10;&#10;Automatisch gegenereerde beschrijving">
            <a:extLst>
              <a:ext uri="{FF2B5EF4-FFF2-40B4-BE49-F238E27FC236}">
                <a16:creationId xmlns:a16="http://schemas.microsoft.com/office/drawing/2014/main" id="{5DBC2286-7FD8-E09A-E67C-09011182ED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04651" y="5814323"/>
            <a:ext cx="537272" cy="404688"/>
          </a:xfrm>
          <a:prstGeom prst="rect">
            <a:avLst/>
          </a:prstGeom>
        </p:spPr>
      </p:pic>
      <p:pic>
        <p:nvPicPr>
          <p:cNvPr id="11" name="Afbeelding 10" descr="Afbeelding met zwart, Graphics, symbool, ontwerp&#10;&#10;Automatisch gegenereerde beschrijving">
            <a:extLst>
              <a:ext uri="{FF2B5EF4-FFF2-40B4-BE49-F238E27FC236}">
                <a16:creationId xmlns:a16="http://schemas.microsoft.com/office/drawing/2014/main" id="{DF164EA8-BCB6-8B87-0306-BCFDDF7230E0}"/>
              </a:ext>
            </a:extLst>
          </p:cNvPr>
          <p:cNvPicPr>
            <a:picLocks noChangeAspect="1"/>
          </p:cNvPicPr>
          <p:nvPr/>
        </p:nvPicPr>
        <p:blipFill>
          <a:blip r:embed="rId5">
            <a:duotone>
              <a:prstClr val="black"/>
              <a:schemeClr val="accent4">
                <a:tint val="45000"/>
                <a:satMod val="400000"/>
              </a:schemeClr>
            </a:duotone>
          </a:blip>
          <a:stretch>
            <a:fillRect/>
          </a:stretch>
        </p:blipFill>
        <p:spPr>
          <a:xfrm>
            <a:off x="3228561" y="1819053"/>
            <a:ext cx="548755" cy="548755"/>
          </a:xfrm>
          <a:prstGeom prst="rect">
            <a:avLst/>
          </a:prstGeom>
          <a:noFill/>
        </p:spPr>
      </p:pic>
      <p:pic>
        <p:nvPicPr>
          <p:cNvPr id="13" name="Afbeelding 12" descr="Afbeelding met Graphics, zwart, schets, symbool&#10;&#10;Automatisch gegenereerde beschrijving">
            <a:extLst>
              <a:ext uri="{FF2B5EF4-FFF2-40B4-BE49-F238E27FC236}">
                <a16:creationId xmlns:a16="http://schemas.microsoft.com/office/drawing/2014/main" id="{DCCE788A-7115-FB9E-D9B0-1DDA87D6F409}"/>
              </a:ext>
            </a:extLst>
          </p:cNvPr>
          <p:cNvPicPr>
            <a:picLocks noChangeAspect="1"/>
          </p:cNvPicPr>
          <p:nvPr/>
        </p:nvPicPr>
        <p:blipFill>
          <a:blip r:embed="rId6">
            <a:duotone>
              <a:prstClr val="black"/>
              <a:schemeClr val="accent4">
                <a:tint val="45000"/>
                <a:satMod val="400000"/>
              </a:schemeClr>
            </a:duotone>
          </a:blip>
          <a:stretch>
            <a:fillRect/>
          </a:stretch>
        </p:blipFill>
        <p:spPr>
          <a:xfrm>
            <a:off x="3265730" y="4575689"/>
            <a:ext cx="474417" cy="474417"/>
          </a:xfrm>
          <a:prstGeom prst="rect">
            <a:avLst/>
          </a:prstGeom>
          <a:noFill/>
        </p:spPr>
      </p:pic>
      <p:pic>
        <p:nvPicPr>
          <p:cNvPr id="15" name="Afbeelding 14" descr="Afbeelding met zwart, schermopname, Graphics, ontwerp&#10;&#10;Automatisch gegenereerde beschrijving">
            <a:extLst>
              <a:ext uri="{FF2B5EF4-FFF2-40B4-BE49-F238E27FC236}">
                <a16:creationId xmlns:a16="http://schemas.microsoft.com/office/drawing/2014/main" id="{863FFEF0-2214-015C-4ADD-24B26D3042C1}"/>
              </a:ext>
            </a:extLst>
          </p:cNvPr>
          <p:cNvPicPr>
            <a:picLocks noChangeAspect="1"/>
          </p:cNvPicPr>
          <p:nvPr/>
        </p:nvPicPr>
        <p:blipFill>
          <a:blip r:embed="rId7">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Lst>
          </a:blip>
          <a:stretch>
            <a:fillRect/>
          </a:stretch>
        </p:blipFill>
        <p:spPr>
          <a:xfrm>
            <a:off x="3246124" y="2820750"/>
            <a:ext cx="513629" cy="513629"/>
          </a:xfrm>
          <a:prstGeom prst="rect">
            <a:avLst/>
          </a:prstGeom>
        </p:spPr>
      </p:pic>
      <p:pic>
        <p:nvPicPr>
          <p:cNvPr id="20" name="Afbeelding 19" descr="Afbeelding met schermopname, Graphics, zwart, Lettertype&#10;&#10;Automatisch gegenereerde beschrijving">
            <a:extLst>
              <a:ext uri="{FF2B5EF4-FFF2-40B4-BE49-F238E27FC236}">
                <a16:creationId xmlns:a16="http://schemas.microsoft.com/office/drawing/2014/main" id="{5C29021F-9598-D98C-E473-2658D001E71D}"/>
              </a:ext>
            </a:extLst>
          </p:cNvPr>
          <p:cNvPicPr>
            <a:picLocks noChangeAspect="1"/>
          </p:cNvPicPr>
          <p:nvPr/>
        </p:nvPicPr>
        <p:blipFill>
          <a:blip r:embed="rId9"/>
          <a:stretch>
            <a:fillRect/>
          </a:stretch>
        </p:blipFill>
        <p:spPr>
          <a:xfrm>
            <a:off x="3266812" y="3657341"/>
            <a:ext cx="548755" cy="548755"/>
          </a:xfrm>
          <a:prstGeom prst="rect">
            <a:avLst/>
          </a:prstGeom>
        </p:spPr>
      </p:pic>
      <p:pic>
        <p:nvPicPr>
          <p:cNvPr id="38" name="Afbeelding 37" descr="Afbeelding met schermopname, ontwerp, zwart, Graphics&#10;&#10;Automatisch gegenereerde beschrijving">
            <a:extLst>
              <a:ext uri="{FF2B5EF4-FFF2-40B4-BE49-F238E27FC236}">
                <a16:creationId xmlns:a16="http://schemas.microsoft.com/office/drawing/2014/main" id="{537CD1A9-D220-0296-AC4A-3C8259041C87}"/>
              </a:ext>
            </a:extLst>
          </p:cNvPr>
          <p:cNvPicPr>
            <a:picLocks noChangeAspect="1"/>
          </p:cNvPicPr>
          <p:nvPr/>
        </p:nvPicPr>
        <p:blipFill>
          <a:blip r:embed="rId10"/>
          <a:stretch>
            <a:fillRect/>
          </a:stretch>
        </p:blipFill>
        <p:spPr>
          <a:xfrm>
            <a:off x="3151552" y="5250367"/>
            <a:ext cx="625765" cy="625765"/>
          </a:xfrm>
          <a:prstGeom prst="rect">
            <a:avLst/>
          </a:prstGeom>
        </p:spPr>
      </p:pic>
      <p:pic>
        <p:nvPicPr>
          <p:cNvPr id="43" name="Afbeelding 42" descr="Afbeelding met zwart, schets, schermopname, Graphics&#10;&#10;Automatisch gegenereerde beschrijving">
            <a:extLst>
              <a:ext uri="{FF2B5EF4-FFF2-40B4-BE49-F238E27FC236}">
                <a16:creationId xmlns:a16="http://schemas.microsoft.com/office/drawing/2014/main" id="{59805368-A4AE-1353-554B-A54A17119809}"/>
              </a:ext>
            </a:extLst>
          </p:cNvPr>
          <p:cNvPicPr>
            <a:picLocks noChangeAspect="1"/>
          </p:cNvPicPr>
          <p:nvPr/>
        </p:nvPicPr>
        <p:blipFill>
          <a:blip r:embed="rId11"/>
          <a:stretch>
            <a:fillRect/>
          </a:stretch>
        </p:blipFill>
        <p:spPr>
          <a:xfrm>
            <a:off x="3223157" y="864877"/>
            <a:ext cx="636067" cy="636067"/>
          </a:xfrm>
          <a:prstGeom prst="rect">
            <a:avLst/>
          </a:prstGeom>
        </p:spPr>
      </p:pic>
      <p:sp>
        <p:nvSpPr>
          <p:cNvPr id="9" name="Tekstvak 8">
            <a:extLst>
              <a:ext uri="{FF2B5EF4-FFF2-40B4-BE49-F238E27FC236}">
                <a16:creationId xmlns:a16="http://schemas.microsoft.com/office/drawing/2014/main" id="{52D43EDF-40A7-6D84-3AE3-46CC61ABE500}"/>
              </a:ext>
            </a:extLst>
          </p:cNvPr>
          <p:cNvSpPr txBox="1"/>
          <p:nvPr/>
        </p:nvSpPr>
        <p:spPr>
          <a:xfrm>
            <a:off x="3912990" y="592637"/>
            <a:ext cx="7418457" cy="5724644"/>
          </a:xfrm>
          <a:prstGeom prst="rect">
            <a:avLst/>
          </a:prstGeom>
          <a:noFill/>
        </p:spPr>
        <p:txBody>
          <a:bodyPr wrap="square" lIns="121920" tIns="60960" rIns="121920" bIns="60960" anchor="t">
            <a:spAutoFit/>
          </a:bodyPr>
          <a:lstStyle/>
          <a:p>
            <a:pPr defTabSz="914377">
              <a:defRPr/>
            </a:pPr>
            <a:r>
              <a:rPr lang="nl-NL" sz="1400" b="1" dirty="0">
                <a:solidFill>
                  <a:srgbClr val="000000"/>
                </a:solidFill>
                <a:latin typeface="Inria Sans"/>
              </a:rPr>
              <a:t>Professionele coaching</a:t>
            </a:r>
          </a:p>
          <a:p>
            <a:pPr defTabSz="914377">
              <a:defRPr/>
            </a:pPr>
            <a:r>
              <a:rPr lang="nl-NL" sz="1400" dirty="0">
                <a:solidFill>
                  <a:srgbClr val="000000"/>
                </a:solidFill>
                <a:latin typeface="Inria Sans"/>
              </a:rPr>
              <a:t>Zit je niet lekker in je vel? Loop je ergens tegenaan wat je moeilijk vindt? Thuis of op je werk? Praat met onze professionele coaches om te achterhalen wat de oorzaak is zet de eerste stap naar verbetering.</a:t>
            </a: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a:rPr>
              <a:t>Hulp bij spanning of stress</a:t>
            </a:r>
          </a:p>
          <a:p>
            <a:pPr defTabSz="914377">
              <a:defRPr/>
            </a:pPr>
            <a:r>
              <a:rPr lang="nl-NL" sz="1400" dirty="0">
                <a:solidFill>
                  <a:srgbClr val="000000"/>
                </a:solidFill>
                <a:latin typeface="Inria Sans"/>
              </a:rPr>
              <a:t>Negatieve spanning slurpt energie! Hoe fijn is het als je hier met iemand over kan praten? Afhankelijk van wat er speelt, onderzoeken wij met elkaar wat jou het beste kan helpen. </a:t>
            </a: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a:rPr>
              <a:t>Grip krijgen na een ingrijpende gebeurtenis</a:t>
            </a:r>
          </a:p>
          <a:p>
            <a:pPr defTabSz="914377">
              <a:defRPr/>
            </a:pPr>
            <a:r>
              <a:rPr lang="nl-NL" sz="1400" dirty="0">
                <a:solidFill>
                  <a:srgbClr val="000000"/>
                </a:solidFill>
                <a:latin typeface="Inria Sans"/>
              </a:rPr>
              <a:t>Ingrijpende veranderingen, zowel positief als negatief, kunnen onverwacht een grote impact hebben. Samen aan een coach aan de slag om de grip weer terug te krijgen. Deze dienst bevalt ook </a:t>
            </a:r>
            <a:r>
              <a:rPr lang="nl-NL" sz="1400" u="sng" dirty="0">
                <a:solidFill>
                  <a:srgbClr val="000000"/>
                </a:solidFill>
                <a:latin typeface="Inria Sans"/>
              </a:rPr>
              <a:t>rouwverwerking.</a:t>
            </a:r>
            <a:endParaRPr lang="nl-NL" sz="1400" dirty="0">
              <a:solidFill>
                <a:srgbClr val="000000"/>
              </a:solidFill>
              <a:latin typeface="Inria Sans"/>
            </a:endParaRPr>
          </a:p>
          <a:p>
            <a:pPr defTabSz="914377">
              <a:defRPr/>
            </a:pPr>
            <a:endParaRPr lang="nl-NL" sz="1400" dirty="0">
              <a:solidFill>
                <a:srgbClr val="000000"/>
              </a:solidFill>
              <a:latin typeface="Inria Sans" pitchFamily="50" charset="0"/>
            </a:endParaRPr>
          </a:p>
          <a:p>
            <a:pPr defTabSz="914377">
              <a:defRPr/>
            </a:pPr>
            <a:r>
              <a:rPr lang="nl-NL" sz="1400" b="1" dirty="0" err="1">
                <a:solidFill>
                  <a:srgbClr val="000000"/>
                </a:solidFill>
                <a:latin typeface="Inria Sans"/>
              </a:rPr>
              <a:t>Budgetcoaching</a:t>
            </a:r>
            <a:endParaRPr lang="nl-NL" sz="1400" b="1" dirty="0">
              <a:solidFill>
                <a:srgbClr val="000000"/>
              </a:solidFill>
              <a:latin typeface="Inria Sans"/>
            </a:endParaRPr>
          </a:p>
          <a:p>
            <a:pPr defTabSz="914377">
              <a:defRPr/>
            </a:pPr>
            <a:r>
              <a:rPr lang="nl-NL" sz="1400" dirty="0">
                <a:solidFill>
                  <a:srgbClr val="000000"/>
                </a:solidFill>
                <a:latin typeface="Inria Sans"/>
              </a:rPr>
              <a:t>Moeite om maandelijkse rond te komen of zelfs financiële stress? Ook bij financiële zorgen helpen de budgetcoaches van </a:t>
            </a:r>
            <a:r>
              <a:rPr lang="nl-NL" sz="1400" dirty="0" err="1">
                <a:solidFill>
                  <a:srgbClr val="000000"/>
                </a:solidFill>
                <a:latin typeface="Inria Sans"/>
              </a:rPr>
              <a:t>LifeCheck</a:t>
            </a:r>
            <a:r>
              <a:rPr lang="nl-NL" sz="1400" dirty="0">
                <a:solidFill>
                  <a:srgbClr val="000000"/>
                </a:solidFill>
                <a:latin typeface="Inria Sans"/>
              </a:rPr>
              <a:t> </a:t>
            </a:r>
            <a:r>
              <a:rPr lang="nl-NL" sz="1400" i="1" dirty="0">
                <a:solidFill>
                  <a:srgbClr val="000000"/>
                </a:solidFill>
                <a:latin typeface="Inria Sans"/>
              </a:rPr>
              <a:t>(samenwerking met </a:t>
            </a:r>
            <a:r>
              <a:rPr lang="nl-NL" sz="1400" i="1" dirty="0" err="1">
                <a:solidFill>
                  <a:srgbClr val="000000"/>
                </a:solidFill>
                <a:latin typeface="Inria Sans"/>
              </a:rPr>
              <a:t>BudgetHulp</a:t>
            </a:r>
            <a:r>
              <a:rPr lang="nl-NL" sz="1400" i="1" dirty="0">
                <a:solidFill>
                  <a:srgbClr val="000000"/>
                </a:solidFill>
                <a:latin typeface="Inria Sans"/>
              </a:rPr>
              <a:t> Nederland)</a:t>
            </a:r>
            <a:endParaRPr lang="nl-NL" sz="1400" b="1" i="1" dirty="0">
              <a:solidFill>
                <a:srgbClr val="000000"/>
              </a:solidFill>
              <a:latin typeface="Inria Sans"/>
            </a:endParaRP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a:rPr>
              <a:t>Mantelzorg coaching</a:t>
            </a:r>
          </a:p>
          <a:p>
            <a:pPr defTabSz="914377">
              <a:defRPr/>
            </a:pPr>
            <a:r>
              <a:rPr lang="nl-NL" sz="1400" dirty="0">
                <a:solidFill>
                  <a:srgbClr val="000000"/>
                </a:solidFill>
                <a:latin typeface="Inria Sans"/>
              </a:rPr>
              <a:t>De mantelzorg coach biedt hulp en praktische ondersteuning voor iedereen die zorgt voor een naaste </a:t>
            </a:r>
            <a:r>
              <a:rPr lang="nl-NL" sz="1400" i="1" dirty="0">
                <a:solidFill>
                  <a:srgbClr val="000000"/>
                </a:solidFill>
                <a:latin typeface="Inria Sans"/>
              </a:rPr>
              <a:t>(samenwerking met Fello). </a:t>
            </a:r>
            <a:br>
              <a:rPr lang="nl-NL" sz="1400" dirty="0">
                <a:latin typeface="Inria Sans" pitchFamily="50" charset="0"/>
              </a:rPr>
            </a:br>
            <a:endParaRPr lang="nl-NL" sz="1400" dirty="0">
              <a:solidFill>
                <a:srgbClr val="000000"/>
              </a:solidFill>
              <a:latin typeface="Inria Sans" pitchFamily="50" charset="0"/>
            </a:endParaRPr>
          </a:p>
          <a:p>
            <a:pPr defTabSz="914377">
              <a:defRPr/>
            </a:pPr>
            <a:r>
              <a:rPr lang="nl-NL" sz="1400" b="1" dirty="0">
                <a:solidFill>
                  <a:srgbClr val="000000"/>
                </a:solidFill>
                <a:latin typeface="Inria Sans"/>
              </a:rPr>
              <a:t>Vertrouwenspersoon (optioneel)</a:t>
            </a:r>
          </a:p>
          <a:p>
            <a:pPr defTabSz="914377">
              <a:defRPr/>
            </a:pPr>
            <a:r>
              <a:rPr lang="nl-NL" sz="1400" dirty="0">
                <a:solidFill>
                  <a:srgbClr val="000000"/>
                </a:solidFill>
                <a:latin typeface="Inria Sans"/>
              </a:rPr>
              <a:t>Hier kan je ongewenst gedrag bespreken dat jij als grensoverschrijdend hebt ervaren. Denk hierbij aan discriminatie, pesten, geweld of agressie. Een vertrouwenspersoon helpt jou vertrouwelijk op weg en biedt praktische ondersteuning  en advies over de te nemen stappen. </a:t>
            </a:r>
          </a:p>
        </p:txBody>
      </p:sp>
      <p:sp>
        <p:nvSpPr>
          <p:cNvPr id="10" name="Ovaal 9">
            <a:extLst>
              <a:ext uri="{FF2B5EF4-FFF2-40B4-BE49-F238E27FC236}">
                <a16:creationId xmlns:a16="http://schemas.microsoft.com/office/drawing/2014/main" id="{82647328-625F-CC81-456B-B2D1E59ABC68}"/>
              </a:ext>
            </a:extLst>
          </p:cNvPr>
          <p:cNvSpPr>
            <a:spLocks noChangeAspect="1"/>
          </p:cNvSpPr>
          <p:nvPr/>
        </p:nvSpPr>
        <p:spPr>
          <a:xfrm>
            <a:off x="776760" y="1414475"/>
            <a:ext cx="1873795" cy="1873795"/>
          </a:xfrm>
          <a:prstGeom prst="ellipse">
            <a:avLst/>
          </a:prstGeom>
          <a:blipFill>
            <a:blip r:embed="rId12"/>
            <a:stretch>
              <a:fillRect/>
            </a:stretch>
          </a:blipFill>
          <a:ln w="508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Tree>
    <p:extLst>
      <p:ext uri="{BB962C8B-B14F-4D97-AF65-F5344CB8AC3E}">
        <p14:creationId xmlns:p14="http://schemas.microsoft.com/office/powerpoint/2010/main" val="3403655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62B6B3F-BBEF-A410-0607-E7D6CAC0ECCE}"/>
              </a:ext>
            </a:extLst>
          </p:cNvPr>
          <p:cNvSpPr/>
          <p:nvPr/>
        </p:nvSpPr>
        <p:spPr>
          <a:xfrm>
            <a:off x="-4104" y="-84843"/>
            <a:ext cx="12200403" cy="6858000"/>
          </a:xfrm>
          <a:prstGeom prst="rect">
            <a:avLst/>
          </a:prstGeom>
          <a:solidFill>
            <a:srgbClr val="FDC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p>
        </p:txBody>
      </p:sp>
      <p:sp>
        <p:nvSpPr>
          <p:cNvPr id="8" name="Vrije vorm 3">
            <a:extLst>
              <a:ext uri="{FF2B5EF4-FFF2-40B4-BE49-F238E27FC236}">
                <a16:creationId xmlns:a16="http://schemas.microsoft.com/office/drawing/2014/main" id="{59E46F17-AC86-3FD0-F369-8068933D1B48}"/>
              </a:ext>
            </a:extLst>
          </p:cNvPr>
          <p:cNvSpPr/>
          <p:nvPr/>
        </p:nvSpPr>
        <p:spPr>
          <a:xfrm>
            <a:off x="3175" y="6016668"/>
            <a:ext cx="12204700" cy="851389"/>
          </a:xfrm>
          <a:custGeom>
            <a:avLst/>
            <a:gdLst>
              <a:gd name="connsiteX0" fmla="*/ 35511 w 12251185"/>
              <a:gd name="connsiteY0" fmla="*/ 648070 h 834501"/>
              <a:gd name="connsiteX1" fmla="*/ 12251185 w 12251185"/>
              <a:gd name="connsiteY1" fmla="*/ 0 h 834501"/>
              <a:gd name="connsiteX2" fmla="*/ 12251185 w 12251185"/>
              <a:gd name="connsiteY2" fmla="*/ 834501 h 834501"/>
              <a:gd name="connsiteX3" fmla="*/ 0 w 12251185"/>
              <a:gd name="connsiteY3" fmla="*/ 834501 h 834501"/>
              <a:gd name="connsiteX4" fmla="*/ 35511 w 12251185"/>
              <a:gd name="connsiteY4" fmla="*/ 648070 h 834501"/>
              <a:gd name="connsiteX0" fmla="*/ 0 w 12215674"/>
              <a:gd name="connsiteY0" fmla="*/ 648070 h 848426"/>
              <a:gd name="connsiteX1" fmla="*/ 12215674 w 12215674"/>
              <a:gd name="connsiteY1" fmla="*/ 0 h 848426"/>
              <a:gd name="connsiteX2" fmla="*/ 12215674 w 12215674"/>
              <a:gd name="connsiteY2" fmla="*/ 834501 h 848426"/>
              <a:gd name="connsiteX3" fmla="*/ 303328 w 12215674"/>
              <a:gd name="connsiteY3" fmla="*/ 848426 h 848426"/>
              <a:gd name="connsiteX4" fmla="*/ 0 w 12215674"/>
              <a:gd name="connsiteY4" fmla="*/ 648070 h 848426"/>
              <a:gd name="connsiteX0" fmla="*/ 12302 w 12227976"/>
              <a:gd name="connsiteY0" fmla="*/ 648070 h 857709"/>
              <a:gd name="connsiteX1" fmla="*/ 12227976 w 12227976"/>
              <a:gd name="connsiteY1" fmla="*/ 0 h 857709"/>
              <a:gd name="connsiteX2" fmla="*/ 12227976 w 12227976"/>
              <a:gd name="connsiteY2" fmla="*/ 834501 h 857709"/>
              <a:gd name="connsiteX3" fmla="*/ 0 w 12227976"/>
              <a:gd name="connsiteY3" fmla="*/ 857709 h 857709"/>
              <a:gd name="connsiteX4" fmla="*/ 12302 w 12227976"/>
              <a:gd name="connsiteY4" fmla="*/ 648070 h 857709"/>
              <a:gd name="connsiteX0" fmla="*/ 0 w 12229599"/>
              <a:gd name="connsiteY0" fmla="*/ 652711 h 857709"/>
              <a:gd name="connsiteX1" fmla="*/ 12229599 w 12229599"/>
              <a:gd name="connsiteY1" fmla="*/ 0 h 857709"/>
              <a:gd name="connsiteX2" fmla="*/ 12229599 w 12229599"/>
              <a:gd name="connsiteY2" fmla="*/ 834501 h 857709"/>
              <a:gd name="connsiteX3" fmla="*/ 1623 w 12229599"/>
              <a:gd name="connsiteY3" fmla="*/ 857709 h 857709"/>
              <a:gd name="connsiteX4" fmla="*/ 0 w 12229599"/>
              <a:gd name="connsiteY4" fmla="*/ 652711 h 857709"/>
              <a:gd name="connsiteX0" fmla="*/ 0 w 12229599"/>
              <a:gd name="connsiteY0" fmla="*/ 652711 h 889459"/>
              <a:gd name="connsiteX1" fmla="*/ 12229599 w 12229599"/>
              <a:gd name="connsiteY1" fmla="*/ 0 h 889459"/>
              <a:gd name="connsiteX2" fmla="*/ 12229599 w 12229599"/>
              <a:gd name="connsiteY2" fmla="*/ 834501 h 889459"/>
              <a:gd name="connsiteX3" fmla="*/ 1623 w 12229599"/>
              <a:gd name="connsiteY3" fmla="*/ 889459 h 889459"/>
              <a:gd name="connsiteX4" fmla="*/ 0 w 12229599"/>
              <a:gd name="connsiteY4" fmla="*/ 652711 h 889459"/>
              <a:gd name="connsiteX0" fmla="*/ 0 w 12229599"/>
              <a:gd name="connsiteY0" fmla="*/ 652711 h 889459"/>
              <a:gd name="connsiteX1" fmla="*/ 12229599 w 12229599"/>
              <a:gd name="connsiteY1" fmla="*/ 0 h 889459"/>
              <a:gd name="connsiteX2" fmla="*/ 12210549 w 12229599"/>
              <a:gd name="connsiteY2" fmla="*/ 888476 h 889459"/>
              <a:gd name="connsiteX3" fmla="*/ 1623 w 12229599"/>
              <a:gd name="connsiteY3" fmla="*/ 889459 h 889459"/>
              <a:gd name="connsiteX4" fmla="*/ 0 w 12229599"/>
              <a:gd name="connsiteY4" fmla="*/ 652711 h 889459"/>
              <a:gd name="connsiteX0" fmla="*/ 0 w 12213724"/>
              <a:gd name="connsiteY0" fmla="*/ 652711 h 889459"/>
              <a:gd name="connsiteX1" fmla="*/ 12213724 w 12213724"/>
              <a:gd name="connsiteY1" fmla="*/ 0 h 889459"/>
              <a:gd name="connsiteX2" fmla="*/ 12210549 w 12213724"/>
              <a:gd name="connsiteY2" fmla="*/ 888476 h 889459"/>
              <a:gd name="connsiteX3" fmla="*/ 1623 w 12213724"/>
              <a:gd name="connsiteY3" fmla="*/ 889459 h 889459"/>
              <a:gd name="connsiteX4" fmla="*/ 0 w 12213724"/>
              <a:gd name="connsiteY4" fmla="*/ 652711 h 889459"/>
              <a:gd name="connsiteX0" fmla="*/ 0 w 12213724"/>
              <a:gd name="connsiteY0" fmla="*/ 652711 h 888476"/>
              <a:gd name="connsiteX1" fmla="*/ 12213724 w 12213724"/>
              <a:gd name="connsiteY1" fmla="*/ 0 h 888476"/>
              <a:gd name="connsiteX2" fmla="*/ 12210549 w 12213724"/>
              <a:gd name="connsiteY2" fmla="*/ 888476 h 888476"/>
              <a:gd name="connsiteX3" fmla="*/ 372684 w 12213724"/>
              <a:gd name="connsiteY3" fmla="*/ 803320 h 888476"/>
              <a:gd name="connsiteX4" fmla="*/ 0 w 12213724"/>
              <a:gd name="connsiteY4" fmla="*/ 652711 h 888476"/>
              <a:gd name="connsiteX0" fmla="*/ 5003 w 12218727"/>
              <a:gd name="connsiteY0" fmla="*/ 652711 h 888476"/>
              <a:gd name="connsiteX1" fmla="*/ 12218727 w 12218727"/>
              <a:gd name="connsiteY1" fmla="*/ 0 h 888476"/>
              <a:gd name="connsiteX2" fmla="*/ 12215552 w 12218727"/>
              <a:gd name="connsiteY2" fmla="*/ 888476 h 888476"/>
              <a:gd name="connsiteX3" fmla="*/ 0 w 12218727"/>
              <a:gd name="connsiteY3" fmla="*/ 809946 h 888476"/>
              <a:gd name="connsiteX4" fmla="*/ 5003 w 12218727"/>
              <a:gd name="connsiteY4" fmla="*/ 652711 h 888476"/>
              <a:gd name="connsiteX0" fmla="*/ 5003 w 12480598"/>
              <a:gd name="connsiteY0" fmla="*/ 652711 h 809946"/>
              <a:gd name="connsiteX1" fmla="*/ 12218727 w 12480598"/>
              <a:gd name="connsiteY1" fmla="*/ 0 h 809946"/>
              <a:gd name="connsiteX2" fmla="*/ 12480595 w 12480598"/>
              <a:gd name="connsiteY2" fmla="*/ 378267 h 809946"/>
              <a:gd name="connsiteX3" fmla="*/ 0 w 12480598"/>
              <a:gd name="connsiteY3" fmla="*/ 809946 h 809946"/>
              <a:gd name="connsiteX4" fmla="*/ 5003 w 12480598"/>
              <a:gd name="connsiteY4" fmla="*/ 652711 h 809946"/>
              <a:gd name="connsiteX0" fmla="*/ 5003 w 12480595"/>
              <a:gd name="connsiteY0" fmla="*/ 652711 h 809946"/>
              <a:gd name="connsiteX1" fmla="*/ 12218727 w 12480595"/>
              <a:gd name="connsiteY1" fmla="*/ 0 h 809946"/>
              <a:gd name="connsiteX2" fmla="*/ 12480595 w 12480595"/>
              <a:gd name="connsiteY2" fmla="*/ 378267 h 809946"/>
              <a:gd name="connsiteX3" fmla="*/ 0 w 12480595"/>
              <a:gd name="connsiteY3" fmla="*/ 809946 h 809946"/>
              <a:gd name="connsiteX4" fmla="*/ 5003 w 12480595"/>
              <a:gd name="connsiteY4" fmla="*/ 652711 h 809946"/>
              <a:gd name="connsiteX0" fmla="*/ 5003 w 12228803"/>
              <a:gd name="connsiteY0" fmla="*/ 652711 h 809946"/>
              <a:gd name="connsiteX1" fmla="*/ 12218727 w 12228803"/>
              <a:gd name="connsiteY1" fmla="*/ 0 h 809946"/>
              <a:gd name="connsiteX2" fmla="*/ 12228803 w 12228803"/>
              <a:gd name="connsiteY2" fmla="*/ 802337 h 809946"/>
              <a:gd name="connsiteX3" fmla="*/ 0 w 12228803"/>
              <a:gd name="connsiteY3" fmla="*/ 809946 h 809946"/>
              <a:gd name="connsiteX4" fmla="*/ 5003 w 12228803"/>
              <a:gd name="connsiteY4" fmla="*/ 652711 h 809946"/>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0 w 12223800"/>
              <a:gd name="connsiteY0" fmla="*/ 652711 h 803433"/>
              <a:gd name="connsiteX1" fmla="*/ 12213724 w 12223800"/>
              <a:gd name="connsiteY1" fmla="*/ 0 h 803433"/>
              <a:gd name="connsiteX2" fmla="*/ 12223800 w 12223800"/>
              <a:gd name="connsiteY2" fmla="*/ 802337 h 803433"/>
              <a:gd name="connsiteX3" fmla="*/ 1976197 w 12223800"/>
              <a:gd name="connsiteY3" fmla="*/ 690677 h 803433"/>
              <a:gd name="connsiteX4" fmla="*/ 0 w 12223800"/>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 name="connsiteX0" fmla="*/ 1828 w 12225628"/>
              <a:gd name="connsiteY0" fmla="*/ 652711 h 803433"/>
              <a:gd name="connsiteX1" fmla="*/ 12215552 w 12225628"/>
              <a:gd name="connsiteY1" fmla="*/ 0 h 803433"/>
              <a:gd name="connsiteX2" fmla="*/ 12225628 w 12225628"/>
              <a:gd name="connsiteY2" fmla="*/ 802337 h 803433"/>
              <a:gd name="connsiteX3" fmla="*/ 0 w 12225628"/>
              <a:gd name="connsiteY3" fmla="*/ 801802 h 803433"/>
              <a:gd name="connsiteX4" fmla="*/ 1828 w 12225628"/>
              <a:gd name="connsiteY4" fmla="*/ 652711 h 803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5628" h="803433">
                <a:moveTo>
                  <a:pt x="1828" y="652711"/>
                </a:moveTo>
                <a:lnTo>
                  <a:pt x="12215552" y="0"/>
                </a:lnTo>
                <a:cubicBezTo>
                  <a:pt x="12214494" y="296159"/>
                  <a:pt x="12220060" y="830857"/>
                  <a:pt x="12225628" y="802337"/>
                </a:cubicBezTo>
                <a:lnTo>
                  <a:pt x="0" y="801802"/>
                </a:lnTo>
                <a:cubicBezTo>
                  <a:pt x="4843" y="805022"/>
                  <a:pt x="6510" y="652666"/>
                  <a:pt x="1828" y="652711"/>
                </a:cubicBezTo>
                <a:close/>
              </a:path>
            </a:pathLst>
          </a:custGeom>
          <a:solidFill>
            <a:schemeClr val="bg1"/>
          </a:solidFill>
          <a:ln w="12700" cap="flat" cmpd="sng" algn="ctr">
            <a:noFill/>
            <a:prstDash val="solid"/>
            <a:miter lim="800000"/>
          </a:ln>
          <a:effectLst/>
        </p:spPr>
        <p:txBody>
          <a:bodyPr rtlCol="0" anchor="ctr"/>
          <a:lstStyle/>
          <a:p>
            <a:pPr algn="ctr" defTabSz="1219140">
              <a:defRPr/>
            </a:pPr>
            <a:endParaRPr lang="nl-NL" sz="2400" kern="0">
              <a:solidFill>
                <a:srgbClr val="FFFFFF"/>
              </a:solidFill>
              <a:latin typeface="Inria Sans Light"/>
            </a:endParaRPr>
          </a:p>
        </p:txBody>
      </p:sp>
      <p:sp>
        <p:nvSpPr>
          <p:cNvPr id="74" name="Text 4">
            <a:extLst>
              <a:ext uri="{FF2B5EF4-FFF2-40B4-BE49-F238E27FC236}">
                <a16:creationId xmlns:a16="http://schemas.microsoft.com/office/drawing/2014/main" id="{2784E876-F4A0-8AF2-B5A3-BB76876EB73D}"/>
              </a:ext>
            </a:extLst>
          </p:cNvPr>
          <p:cNvSpPr/>
          <p:nvPr/>
        </p:nvSpPr>
        <p:spPr>
          <a:xfrm>
            <a:off x="627845" y="440891"/>
            <a:ext cx="9178508" cy="755559"/>
          </a:xfrm>
          <a:prstGeom prst="rect">
            <a:avLst/>
          </a:prstGeom>
          <a:noFill/>
          <a:ln/>
        </p:spPr>
        <p:txBody>
          <a:bodyPr wrap="square" lIns="0" tIns="0" rIns="0" bIns="0" rtlCol="0" anchor="t"/>
          <a:lstStyle/>
          <a:p>
            <a:pPr defTabSz="1219140">
              <a:lnSpc>
                <a:spcPts val="3000"/>
              </a:lnSpc>
              <a:defRPr/>
            </a:pPr>
            <a:r>
              <a:rPr lang="nl-NL" sz="3067" b="1" kern="0" dirty="0">
                <a:solidFill>
                  <a:srgbClr val="0D0C28"/>
                </a:solidFill>
                <a:latin typeface="Inria Sans" pitchFamily="50" charset="0"/>
                <a:cs typeface="Poppins" pitchFamily="34" charset="-120"/>
              </a:rPr>
              <a:t>Voor je leefstijl</a:t>
            </a:r>
          </a:p>
        </p:txBody>
      </p:sp>
      <p:sp>
        <p:nvSpPr>
          <p:cNvPr id="3" name="Rechthoek 2">
            <a:extLst>
              <a:ext uri="{FF2B5EF4-FFF2-40B4-BE49-F238E27FC236}">
                <a16:creationId xmlns:a16="http://schemas.microsoft.com/office/drawing/2014/main" id="{BBD9E642-B960-B58F-94EC-612DBE568BF1}"/>
              </a:ext>
            </a:extLst>
          </p:cNvPr>
          <p:cNvSpPr/>
          <p:nvPr/>
        </p:nvSpPr>
        <p:spPr>
          <a:xfrm>
            <a:off x="266277" y="6017311"/>
            <a:ext cx="825633" cy="292388"/>
          </a:xfrm>
          <a:prstGeom prst="rect">
            <a:avLst/>
          </a:prstGeom>
        </p:spPr>
        <p:txBody>
          <a:bodyPr wrap="square" lIns="0" rIns="120000" bIns="0" anchor="b" anchorCtr="0">
            <a:spAutoFit/>
          </a:bodyPr>
          <a:lstStyle/>
          <a:p>
            <a:pPr defTabSz="1219140">
              <a:defRPr/>
            </a:pPr>
            <a:fld id="{478F02DA-AB65-4DE3-8C32-C1DFFF12922F}" type="slidenum">
              <a:rPr lang="nl-NL" sz="1600">
                <a:solidFill>
                  <a:srgbClr val="000000">
                    <a:lumMod val="50000"/>
                    <a:lumOff val="50000"/>
                  </a:srgbClr>
                </a:solidFill>
                <a:latin typeface="Inria Sans Light" pitchFamily="50" charset="0"/>
                <a:cs typeface="Arial" pitchFamily="34" charset="0"/>
              </a:rPr>
              <a:pPr defTabSz="1219140">
                <a:defRPr/>
              </a:pPr>
              <a:t>5</a:t>
            </a:fld>
            <a:endParaRPr lang="nl-NL" sz="1600">
              <a:solidFill>
                <a:srgbClr val="000000">
                  <a:lumMod val="50000"/>
                  <a:lumOff val="50000"/>
                </a:srgbClr>
              </a:solidFill>
              <a:latin typeface="Inria Sans Light" pitchFamily="50" charset="0"/>
              <a:cs typeface="Arial" pitchFamily="34" charset="0"/>
            </a:endParaRPr>
          </a:p>
        </p:txBody>
      </p:sp>
      <p:sp>
        <p:nvSpPr>
          <p:cNvPr id="31" name="Text 3">
            <a:extLst>
              <a:ext uri="{FF2B5EF4-FFF2-40B4-BE49-F238E27FC236}">
                <a16:creationId xmlns:a16="http://schemas.microsoft.com/office/drawing/2014/main" id="{E781B9FA-3969-F4CA-5D6F-262ADB7F8F31}"/>
              </a:ext>
            </a:extLst>
          </p:cNvPr>
          <p:cNvSpPr/>
          <p:nvPr/>
        </p:nvSpPr>
        <p:spPr>
          <a:xfrm>
            <a:off x="8100186" y="3603929"/>
            <a:ext cx="2965085" cy="275516"/>
          </a:xfrm>
          <a:prstGeom prst="rect">
            <a:avLst/>
          </a:prstGeom>
          <a:noFill/>
          <a:ln/>
        </p:spPr>
        <p:txBody>
          <a:bodyPr wrap="square" lIns="0" tIns="0" rIns="0" bIns="0" rtlCol="0" anchor="ctr"/>
          <a:lstStyle/>
          <a:p>
            <a:pPr algn="ctr"/>
            <a:endParaRPr lang="nl-NL" sz="2133" b="1">
              <a:latin typeface="Inria Sans" pitchFamily="50" charset="0"/>
            </a:endParaRPr>
          </a:p>
        </p:txBody>
      </p:sp>
      <p:sp>
        <p:nvSpPr>
          <p:cNvPr id="61" name="Ovaal 60">
            <a:extLst>
              <a:ext uri="{FF2B5EF4-FFF2-40B4-BE49-F238E27FC236}">
                <a16:creationId xmlns:a16="http://schemas.microsoft.com/office/drawing/2014/main" id="{DECF2718-3BCD-B4E2-A7E9-C1EFD6771782}"/>
              </a:ext>
            </a:extLst>
          </p:cNvPr>
          <p:cNvSpPr/>
          <p:nvPr/>
        </p:nvSpPr>
        <p:spPr>
          <a:xfrm>
            <a:off x="627845" y="1732763"/>
            <a:ext cx="1873795" cy="1873795"/>
          </a:xfrm>
          <a:prstGeom prst="ellipse">
            <a:avLst/>
          </a:prstGeom>
          <a:blipFill>
            <a:blip r:embed="rId2"/>
            <a:stretch>
              <a:fillRect/>
            </a:stretch>
          </a:blipFill>
          <a:ln w="508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pic>
        <p:nvPicPr>
          <p:cNvPr id="71" name="Image 2" descr="https://pitch-assets-ccb95893-de3f-4266-973c-20049231b248.s3.eu-west-1.amazonaws.com/8a4eed37-b16b-4293-9f41-b1a7ccc2e792?pitch-bytes=23147&amp;pitch-content-type=image%2Fpng">
            <a:extLst>
              <a:ext uri="{FF2B5EF4-FFF2-40B4-BE49-F238E27FC236}">
                <a16:creationId xmlns:a16="http://schemas.microsoft.com/office/drawing/2014/main" id="{BB8F9C1A-A97D-79AA-E502-6113F92AF521}"/>
              </a:ext>
            </a:extLst>
          </p:cNvPr>
          <p:cNvPicPr>
            <a:picLocks noChangeAspect="1"/>
          </p:cNvPicPr>
          <p:nvPr/>
        </p:nvPicPr>
        <p:blipFill>
          <a:blip r:embed="rId3"/>
          <a:srcRect/>
          <a:stretch/>
        </p:blipFill>
        <p:spPr>
          <a:xfrm>
            <a:off x="9674840" y="6262871"/>
            <a:ext cx="1808840" cy="336000"/>
          </a:xfrm>
          <a:prstGeom prst="rect">
            <a:avLst/>
          </a:prstGeom>
        </p:spPr>
      </p:pic>
      <p:pic>
        <p:nvPicPr>
          <p:cNvPr id="73" name="Afbeelding 72" descr="Afbeelding met pijl&#10;&#10;Automatisch gegenereerde beschrijving">
            <a:extLst>
              <a:ext uri="{FF2B5EF4-FFF2-40B4-BE49-F238E27FC236}">
                <a16:creationId xmlns:a16="http://schemas.microsoft.com/office/drawing/2014/main" id="{5DBC2286-7FD8-E09A-E67C-09011182ED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80335" y="5745732"/>
            <a:ext cx="537272" cy="404688"/>
          </a:xfrm>
          <a:prstGeom prst="rect">
            <a:avLst/>
          </a:prstGeom>
        </p:spPr>
      </p:pic>
      <p:pic>
        <p:nvPicPr>
          <p:cNvPr id="22" name="Afbeelding 21" descr="Afbeelding met zwart, schets, Graphics, ontwerp&#10;&#10;Automatisch gegenereerde beschrijving">
            <a:extLst>
              <a:ext uri="{FF2B5EF4-FFF2-40B4-BE49-F238E27FC236}">
                <a16:creationId xmlns:a16="http://schemas.microsoft.com/office/drawing/2014/main" id="{3D064228-1246-4F5A-2189-C06193E19DB0}"/>
              </a:ext>
            </a:extLst>
          </p:cNvPr>
          <p:cNvPicPr>
            <a:picLocks noChangeAspect="1"/>
          </p:cNvPicPr>
          <p:nvPr/>
        </p:nvPicPr>
        <p:blipFill>
          <a:blip r:embed="rId5"/>
          <a:stretch>
            <a:fillRect/>
          </a:stretch>
        </p:blipFill>
        <p:spPr>
          <a:xfrm>
            <a:off x="3481051" y="3551047"/>
            <a:ext cx="490951" cy="490951"/>
          </a:xfrm>
          <a:prstGeom prst="rect">
            <a:avLst/>
          </a:prstGeom>
        </p:spPr>
      </p:pic>
      <p:pic>
        <p:nvPicPr>
          <p:cNvPr id="34" name="Afbeelding 33" descr="Afbeelding met zwart, duisternis, Graphics, schermopname&#10;&#10;Automatisch gegenereerde beschrijving">
            <a:extLst>
              <a:ext uri="{FF2B5EF4-FFF2-40B4-BE49-F238E27FC236}">
                <a16:creationId xmlns:a16="http://schemas.microsoft.com/office/drawing/2014/main" id="{C5FE75C5-784C-B910-E4EE-44CDEF4F3D1F}"/>
              </a:ext>
            </a:extLst>
          </p:cNvPr>
          <p:cNvPicPr>
            <a:picLocks noChangeAspect="1"/>
          </p:cNvPicPr>
          <p:nvPr/>
        </p:nvPicPr>
        <p:blipFill>
          <a:blip r:embed="rId6"/>
          <a:stretch>
            <a:fillRect/>
          </a:stretch>
        </p:blipFill>
        <p:spPr>
          <a:xfrm>
            <a:off x="3452769" y="1597253"/>
            <a:ext cx="633483" cy="633483"/>
          </a:xfrm>
          <a:prstGeom prst="rect">
            <a:avLst/>
          </a:prstGeom>
        </p:spPr>
      </p:pic>
      <p:pic>
        <p:nvPicPr>
          <p:cNvPr id="36" name="Afbeelding 35" descr="Afbeelding met symbool, Graphics, Lettertype, logo&#10;&#10;Automatisch gegenereerde beschrijving">
            <a:extLst>
              <a:ext uri="{FF2B5EF4-FFF2-40B4-BE49-F238E27FC236}">
                <a16:creationId xmlns:a16="http://schemas.microsoft.com/office/drawing/2014/main" id="{A098C7FC-66A6-4BA3-E9DC-254D8EEA7177}"/>
              </a:ext>
            </a:extLst>
          </p:cNvPr>
          <p:cNvPicPr>
            <a:picLocks noChangeAspect="1"/>
          </p:cNvPicPr>
          <p:nvPr/>
        </p:nvPicPr>
        <p:blipFill>
          <a:blip r:embed="rId7"/>
          <a:stretch>
            <a:fillRect/>
          </a:stretch>
        </p:blipFill>
        <p:spPr>
          <a:xfrm>
            <a:off x="3452770" y="2531258"/>
            <a:ext cx="617327" cy="617327"/>
          </a:xfrm>
          <a:prstGeom prst="rect">
            <a:avLst/>
          </a:prstGeom>
        </p:spPr>
      </p:pic>
      <p:sp>
        <p:nvSpPr>
          <p:cNvPr id="9" name="Tekstvak 8">
            <a:extLst>
              <a:ext uri="{FF2B5EF4-FFF2-40B4-BE49-F238E27FC236}">
                <a16:creationId xmlns:a16="http://schemas.microsoft.com/office/drawing/2014/main" id="{666F8206-405E-E5C4-D35F-E23495FF16B8}"/>
              </a:ext>
            </a:extLst>
          </p:cNvPr>
          <p:cNvSpPr txBox="1"/>
          <p:nvPr/>
        </p:nvSpPr>
        <p:spPr>
          <a:xfrm>
            <a:off x="4313193" y="1323683"/>
            <a:ext cx="7250963" cy="3108543"/>
          </a:xfrm>
          <a:prstGeom prst="rect">
            <a:avLst/>
          </a:prstGeom>
          <a:noFill/>
        </p:spPr>
        <p:txBody>
          <a:bodyPr wrap="square">
            <a:spAutoFit/>
          </a:bodyPr>
          <a:lstStyle/>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pitchFamily="50" charset="0"/>
              </a:rPr>
              <a:t>Stoppen met roken</a:t>
            </a:r>
          </a:p>
          <a:p>
            <a:pPr defTabSz="914377">
              <a:defRPr/>
            </a:pPr>
            <a:r>
              <a:rPr lang="nl-NL" sz="1400" dirty="0">
                <a:solidFill>
                  <a:srgbClr val="000000"/>
                </a:solidFill>
                <a:latin typeface="Inria Sans" pitchFamily="50" charset="0"/>
              </a:rPr>
              <a:t>Denk jij erover om te stoppen met roken? Met ons Stoppen met roken ondersteunen onze coaches bij het doorbroken van de gewoonte.</a:t>
            </a:r>
          </a:p>
          <a:p>
            <a:pPr defTabSz="914377">
              <a:defRPr/>
            </a:pPr>
            <a:endParaRPr lang="nl-NL" sz="1400" dirty="0">
              <a:solidFill>
                <a:srgbClr val="000000"/>
              </a:solidFill>
              <a:latin typeface="Inria Sans" pitchFamily="50" charset="0"/>
            </a:endParaRPr>
          </a:p>
          <a:p>
            <a:pPr defTabSz="914377">
              <a:defRPr/>
            </a:pPr>
            <a:r>
              <a:rPr lang="nl-NL" sz="1400" b="1" dirty="0">
                <a:solidFill>
                  <a:srgbClr val="000000"/>
                </a:solidFill>
                <a:latin typeface="Inria Sans" pitchFamily="50" charset="0"/>
              </a:rPr>
              <a:t>Advies over voeding</a:t>
            </a:r>
          </a:p>
          <a:p>
            <a:pPr defTabSz="914377">
              <a:defRPr/>
            </a:pPr>
            <a:r>
              <a:rPr lang="nl-NL" sz="1400" dirty="0">
                <a:solidFill>
                  <a:srgbClr val="000000"/>
                </a:solidFill>
                <a:latin typeface="Inria Sans" pitchFamily="50" charset="0"/>
              </a:rPr>
              <a:t>Wat je vraag over (gezonde) voeding, eetgewoonten, gezond gewicht verliezen ook is, onze voedingsdeskundigen kunnen je helpen in elke situatie en bespreken een gepersonaliseerd voedingsadvies met je.</a:t>
            </a:r>
          </a:p>
          <a:p>
            <a:pPr defTabSz="914377">
              <a:defRPr/>
            </a:pPr>
            <a:endParaRPr lang="nl-NL" sz="1400" b="1" dirty="0">
              <a:solidFill>
                <a:srgbClr val="000000"/>
              </a:solidFill>
              <a:latin typeface="Inria Sans" pitchFamily="50" charset="0"/>
            </a:endParaRPr>
          </a:p>
          <a:p>
            <a:pPr defTabSz="914377">
              <a:defRPr/>
            </a:pPr>
            <a:r>
              <a:rPr lang="nl-NL" sz="1400" b="1" dirty="0">
                <a:solidFill>
                  <a:srgbClr val="000000"/>
                </a:solidFill>
                <a:latin typeface="Inria Sans" pitchFamily="50" charset="0"/>
              </a:rPr>
              <a:t>Je fitter gaan voelen</a:t>
            </a:r>
          </a:p>
          <a:p>
            <a:pPr defTabSz="914377">
              <a:defRPr/>
            </a:pPr>
            <a:r>
              <a:rPr lang="nl-NL" sz="1400" dirty="0">
                <a:solidFill>
                  <a:srgbClr val="000000"/>
                </a:solidFill>
                <a:latin typeface="Inria Sans" pitchFamily="50" charset="0"/>
              </a:rPr>
              <a:t>Met het online Get Fit programma kun je een bewegingsplan aanvragen voor een actievere levensstijl. In combinatie met een makkelijk, lekker en inspirerend maaltijdplan.</a:t>
            </a:r>
          </a:p>
          <a:p>
            <a:pPr defTabSz="914377">
              <a:defRPr/>
            </a:pPr>
            <a:endParaRPr lang="nl-NL" sz="1400" b="1" dirty="0">
              <a:solidFill>
                <a:srgbClr val="000000"/>
              </a:solidFill>
              <a:latin typeface="Inria Sans" pitchFamily="50" charset="0"/>
            </a:endParaRPr>
          </a:p>
        </p:txBody>
      </p:sp>
    </p:spTree>
    <p:extLst>
      <p:ext uri="{BB962C8B-B14F-4D97-AF65-F5344CB8AC3E}">
        <p14:creationId xmlns:p14="http://schemas.microsoft.com/office/powerpoint/2010/main" val="1821118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egon template 2019">
  <a:themeElements>
    <a:clrScheme name="LifeCheck">
      <a:dk1>
        <a:srgbClr val="000000"/>
      </a:dk1>
      <a:lt1>
        <a:srgbClr val="FFFFFF"/>
      </a:lt1>
      <a:dk2>
        <a:srgbClr val="868686"/>
      </a:dk2>
      <a:lt2>
        <a:srgbClr val="FDC828"/>
      </a:lt2>
      <a:accent1>
        <a:srgbClr val="DC912D"/>
      </a:accent1>
      <a:accent2>
        <a:srgbClr val="764AA0"/>
      </a:accent2>
      <a:accent3>
        <a:srgbClr val="EE0000"/>
      </a:accent3>
      <a:accent4>
        <a:srgbClr val="DC7303"/>
      </a:accent4>
      <a:accent5>
        <a:srgbClr val="FDC828"/>
      </a:accent5>
      <a:accent6>
        <a:srgbClr val="2BAEA3"/>
      </a:accent6>
      <a:hlink>
        <a:srgbClr val="1D1D1D"/>
      </a:hlink>
      <a:folHlink>
        <a:srgbClr val="000000"/>
      </a:folHlink>
    </a:clrScheme>
    <a:fontScheme name="Custom 2">
      <a:majorFont>
        <a:latin typeface="Inria Sans"/>
        <a:ea typeface=""/>
        <a:cs typeface=""/>
      </a:majorFont>
      <a:minorFont>
        <a:latin typeface="Inria Sans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3" id="{A8CE1C16-129D-43E1-823D-F21A26684A99}" vid="{C9AF4E6A-8756-4295-8E2E-4CB55CD17671}"/>
    </a:ext>
  </a:extLst>
</a:theme>
</file>

<file path=ppt/theme/theme3.xml><?xml version="1.0" encoding="utf-8"?>
<a:theme xmlns:a="http://schemas.openxmlformats.org/drawingml/2006/main" name="1_Aegon template 2019">
  <a:themeElements>
    <a:clrScheme name="Aegon NL 2019">
      <a:dk1>
        <a:srgbClr val="000000"/>
      </a:dk1>
      <a:lt1>
        <a:srgbClr val="FFFFFF"/>
      </a:lt1>
      <a:dk2>
        <a:srgbClr val="1F355E"/>
      </a:dk2>
      <a:lt2>
        <a:srgbClr val="3395D3"/>
      </a:lt2>
      <a:accent1>
        <a:srgbClr val="0069B4"/>
      </a:accent1>
      <a:accent2>
        <a:srgbClr val="764AA0"/>
      </a:accent2>
      <a:accent3>
        <a:srgbClr val="EE0000"/>
      </a:accent3>
      <a:accent4>
        <a:srgbClr val="DC7303"/>
      </a:accent4>
      <a:accent5>
        <a:srgbClr val="FDC828"/>
      </a:accent5>
      <a:accent6>
        <a:srgbClr val="2BAEA3"/>
      </a:accent6>
      <a:hlink>
        <a:srgbClr val="1D1D1D"/>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StuGBN_AEG_Temp_group_April 2019_4-empty" id="{4C94E17F-E80C-4CD0-92E3-9C6128853487}" vid="{C55B3FB9-99C7-4329-B6F8-FCF7C6F26A68}"/>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300ee16-58be-4d04-b687-5b27d2a3c0da">
      <Terms xmlns="http://schemas.microsoft.com/office/infopath/2007/PartnerControls"/>
    </lcf76f155ced4ddcb4097134ff3c332f>
    <TaxCatchAll xmlns="f0f2f870-946a-4ffb-8b63-ba901eecaa8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AE6E20A74B5E4F90EFDFBDBC89D154" ma:contentTypeVersion="19" ma:contentTypeDescription="Create a new document." ma:contentTypeScope="" ma:versionID="3d6179912d1975f1febe47553861f9c9">
  <xsd:schema xmlns:xsd="http://www.w3.org/2001/XMLSchema" xmlns:xs="http://www.w3.org/2001/XMLSchema" xmlns:p="http://schemas.microsoft.com/office/2006/metadata/properties" xmlns:ns2="3300ee16-58be-4d04-b687-5b27d2a3c0da" xmlns:ns3="f0f2f870-946a-4ffb-8b63-ba901eecaa84" targetNamespace="http://schemas.microsoft.com/office/2006/metadata/properties" ma:root="true" ma:fieldsID="b0375db181e7c3494a58e1f67d4ebb4f" ns2:_="" ns3:_="">
    <xsd:import namespace="3300ee16-58be-4d04-b687-5b27d2a3c0da"/>
    <xsd:import namespace="f0f2f870-946a-4ffb-8b63-ba901eecaa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00ee16-58be-4d04-b687-5b27d2a3c0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4bac9bc-b494-461f-b0d5-c448610b4c2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0f2f870-946a-4ffb-8b63-ba901eecaa8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e3ad06a-8a2b-47f2-a3e8-ae25501fe506}" ma:internalName="TaxCatchAll" ma:showField="CatchAllData" ma:web="f0f2f870-946a-4ffb-8b63-ba901eecaa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785648-7A16-43DD-B1C6-6F4BD4563768}">
  <ds:schemaRefs>
    <ds:schemaRef ds:uri="http://schemas.microsoft.com/sharepoint/v3/contenttype/forms"/>
  </ds:schemaRefs>
</ds:datastoreItem>
</file>

<file path=customXml/itemProps2.xml><?xml version="1.0" encoding="utf-8"?>
<ds:datastoreItem xmlns:ds="http://schemas.openxmlformats.org/officeDocument/2006/customXml" ds:itemID="{D7BACF69-1FC1-451B-812F-98FD0440059E}">
  <ds:schemaRefs>
    <ds:schemaRef ds:uri="http://schemas.microsoft.com/office/2006/documentManagement/types"/>
    <ds:schemaRef ds:uri="http://schemas.microsoft.com/office/infopath/2007/PartnerControls"/>
    <ds:schemaRef ds:uri="http://schemas.microsoft.com/office/2006/metadata/properties"/>
    <ds:schemaRef ds:uri="http://purl.org/dc/terms/"/>
    <ds:schemaRef ds:uri="http://purl.org/dc/dcmitype/"/>
    <ds:schemaRef ds:uri="3300ee16-58be-4d04-b687-5b27d2a3c0da"/>
    <ds:schemaRef ds:uri="f0f2f870-946a-4ffb-8b63-ba901eecaa84"/>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54E9AE58-6605-4F96-8762-82FBE3BA3D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00ee16-58be-4d04-b687-5b27d2a3c0da"/>
    <ds:schemaRef ds:uri="f0f2f870-946a-4ffb-8b63-ba901eecaa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3113788-2673-4ef4-833c-ef7ab5eeec8a}" enabled="0" method="" siteId="{b3113788-2673-4ef4-833c-ef7ab5eeec8a}" removed="1"/>
</clbl:labelList>
</file>

<file path=docProps/app.xml><?xml version="1.0" encoding="utf-8"?>
<Properties xmlns="http://schemas.openxmlformats.org/officeDocument/2006/extended-properties" xmlns:vt="http://schemas.openxmlformats.org/officeDocument/2006/docPropsVTypes">
  <TotalTime>3606</TotalTime>
  <Words>510</Words>
  <Application>Microsoft Office PowerPoint</Application>
  <PresentationFormat>Breedbeeld</PresentationFormat>
  <Paragraphs>49</Paragraphs>
  <Slides>5</Slides>
  <Notes>2</Notes>
  <HiddenSlides>0</HiddenSlides>
  <MMClips>1</MMClips>
  <ScaleCrop>false</ScaleCrop>
  <HeadingPairs>
    <vt:vector size="8" baseType="variant">
      <vt:variant>
        <vt:lpstr>Gebruikte lettertypen</vt:lpstr>
      </vt:variant>
      <vt:variant>
        <vt:i4>6</vt:i4>
      </vt:variant>
      <vt:variant>
        <vt:lpstr>Thema</vt:lpstr>
      </vt:variant>
      <vt:variant>
        <vt:i4>3</vt:i4>
      </vt:variant>
      <vt:variant>
        <vt:lpstr>Ingesloten OLE-bronprogramma's</vt:lpstr>
      </vt:variant>
      <vt:variant>
        <vt:i4>1</vt:i4>
      </vt:variant>
      <vt:variant>
        <vt:lpstr>Diatitels</vt:lpstr>
      </vt:variant>
      <vt:variant>
        <vt:i4>5</vt:i4>
      </vt:variant>
    </vt:vector>
  </HeadingPairs>
  <TitlesOfParts>
    <vt:vector size="15" baseType="lpstr">
      <vt:lpstr>Aptos</vt:lpstr>
      <vt:lpstr>Arial</vt:lpstr>
      <vt:lpstr>Calibri</vt:lpstr>
      <vt:lpstr>Inria Sans</vt:lpstr>
      <vt:lpstr>Inria Sans Light</vt:lpstr>
      <vt:lpstr>Wingdings</vt:lpstr>
      <vt:lpstr>Office Theme</vt:lpstr>
      <vt:lpstr>Aegon template 2019</vt:lpstr>
      <vt:lpstr>1_Aegon template 2019</vt:lpstr>
      <vt:lpstr>think-cell Slid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lange Former</dc:creator>
  <cp:lastModifiedBy>Laura Breebaart</cp:lastModifiedBy>
  <cp:revision>5</cp:revision>
  <dcterms:created xsi:type="dcterms:W3CDTF">2025-11-04T09:35:50Z</dcterms:created>
  <dcterms:modified xsi:type="dcterms:W3CDTF">2026-02-13T10: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AE6E20A74B5E4F90EFDFBDBC89D154</vt:lpwstr>
  </property>
  <property fmtid="{D5CDD505-2E9C-101B-9397-08002B2CF9AE}" pid="3" name="MediaServiceImageTags">
    <vt:lpwstr/>
  </property>
</Properties>
</file>